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embedTrueTypeFonts="1" saveSubsetFonts="1">
  <p:sldMasterIdLst>
    <p:sldMasterId id="2147483655" r:id="rId1"/>
  </p:sldMasterIdLst>
  <p:notesMasterIdLst>
    <p:notesMasterId r:id="rId18"/>
  </p:notesMasterIdLst>
  <p:handoutMasterIdLst>
    <p:handoutMasterId r:id="rId19"/>
  </p:handoutMasterIdLst>
  <p:sldIdLst>
    <p:sldId id="1106" r:id="rId2"/>
    <p:sldId id="1324" r:id="rId3"/>
    <p:sldId id="1323" r:id="rId4"/>
    <p:sldId id="1293" r:id="rId5"/>
    <p:sldId id="1296" r:id="rId6"/>
    <p:sldId id="1299" r:id="rId7"/>
    <p:sldId id="1325" r:id="rId8"/>
    <p:sldId id="1304" r:id="rId9"/>
    <p:sldId id="1305" r:id="rId10"/>
    <p:sldId id="1306" r:id="rId11"/>
    <p:sldId id="1307" r:id="rId12"/>
    <p:sldId id="1310" r:id="rId13"/>
    <p:sldId id="1317" r:id="rId14"/>
    <p:sldId id="1200" r:id="rId15"/>
    <p:sldId id="1274" r:id="rId16"/>
    <p:sldId id="1322" r:id="rId17"/>
  </p:sldIdLst>
  <p:sldSz cx="12801600" cy="9601200" type="A3"/>
  <p:notesSz cx="9928225" cy="14303375"/>
  <p:embeddedFontLst>
    <p:embeddedFont>
      <p:font typeface="Calibri" pitchFamily="34" charset="0"/>
      <p:regular r:id="rId20"/>
      <p:bold r:id="rId21"/>
      <p:italic r:id="rId22"/>
      <p:boldItalic r:id="rId23"/>
    </p:embeddedFont>
    <p:embeddedFont>
      <p:font typeface="Book Antiqua" pitchFamily="18" charset="0"/>
      <p:regular r:id="rId24"/>
      <p:bold r:id="rId25"/>
      <p:italic r:id="rId26"/>
      <p:boldItalic r:id="rId27"/>
    </p:embeddedFont>
    <p:embeddedFont>
      <p:font typeface="Helvetica" pitchFamily="34" charset="0"/>
      <p:regular r:id="rId28"/>
      <p:bold r:id="rId29"/>
      <p:italic r:id="rId30"/>
      <p:boldItalic r:id="rId31"/>
    </p:embeddedFont>
    <p:embeddedFont>
      <p:font typeface="ＭＳ 明朝" pitchFamily="49" charset="-128"/>
      <p:regular r:id="rId32"/>
    </p:embeddedFont>
    <p:embeddedFont>
      <p:font typeface="Cambria" pitchFamily="18" charset="0"/>
      <p:regular r:id="rId33"/>
      <p:bold r:id="rId34"/>
      <p:italic r:id="rId35"/>
      <p:boldItalic r:id="rId36"/>
    </p:embeddedFont>
    <p:embeddedFont>
      <p:font typeface="Webdings" pitchFamily="18" charset="2"/>
      <p:regular r:id="rId37"/>
    </p:embeddedFont>
  </p:embeddedFontLst>
  <p:custDataLst>
    <p:tags r:id="rId38"/>
  </p:custDataLst>
  <p:kinsoku lang="ja-JP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1900" b="1" kern="1200">
        <a:solidFill>
          <a:schemeClr val="tx1"/>
        </a:solidFill>
        <a:latin typeface="Arial" charset="0"/>
        <a:ea typeface="+mn-ea"/>
        <a:cs typeface="+mn-cs"/>
      </a:defRPr>
    </a:lvl1pPr>
    <a:lvl2pPr marL="610845" algn="l" rtl="0" eaLnBrk="0" fontAlgn="base" hangingPunct="0">
      <a:spcBef>
        <a:spcPct val="0"/>
      </a:spcBef>
      <a:spcAft>
        <a:spcPct val="0"/>
      </a:spcAft>
      <a:defRPr sz="1900" b="1" kern="1200">
        <a:solidFill>
          <a:schemeClr val="tx1"/>
        </a:solidFill>
        <a:latin typeface="Arial" charset="0"/>
        <a:ea typeface="+mn-ea"/>
        <a:cs typeface="+mn-cs"/>
      </a:defRPr>
    </a:lvl2pPr>
    <a:lvl3pPr marL="1221692" algn="l" rtl="0" eaLnBrk="0" fontAlgn="base" hangingPunct="0">
      <a:spcBef>
        <a:spcPct val="0"/>
      </a:spcBef>
      <a:spcAft>
        <a:spcPct val="0"/>
      </a:spcAft>
      <a:defRPr sz="1900" b="1" kern="1200">
        <a:solidFill>
          <a:schemeClr val="tx1"/>
        </a:solidFill>
        <a:latin typeface="Arial" charset="0"/>
        <a:ea typeface="+mn-ea"/>
        <a:cs typeface="+mn-cs"/>
      </a:defRPr>
    </a:lvl3pPr>
    <a:lvl4pPr marL="1832539" algn="l" rtl="0" eaLnBrk="0" fontAlgn="base" hangingPunct="0">
      <a:spcBef>
        <a:spcPct val="0"/>
      </a:spcBef>
      <a:spcAft>
        <a:spcPct val="0"/>
      </a:spcAft>
      <a:defRPr sz="1900" b="1" kern="1200">
        <a:solidFill>
          <a:schemeClr val="tx1"/>
        </a:solidFill>
        <a:latin typeface="Arial" charset="0"/>
        <a:ea typeface="+mn-ea"/>
        <a:cs typeface="+mn-cs"/>
      </a:defRPr>
    </a:lvl4pPr>
    <a:lvl5pPr marL="2443384" algn="l" rtl="0" eaLnBrk="0" fontAlgn="base" hangingPunct="0">
      <a:spcBef>
        <a:spcPct val="0"/>
      </a:spcBef>
      <a:spcAft>
        <a:spcPct val="0"/>
      </a:spcAft>
      <a:defRPr sz="1900" b="1" kern="1200">
        <a:solidFill>
          <a:schemeClr val="tx1"/>
        </a:solidFill>
        <a:latin typeface="Arial" charset="0"/>
        <a:ea typeface="+mn-ea"/>
        <a:cs typeface="+mn-cs"/>
      </a:defRPr>
    </a:lvl5pPr>
    <a:lvl6pPr marL="3054231" algn="l" defTabSz="1221692" rtl="0" eaLnBrk="1" latinLnBrk="0" hangingPunct="1">
      <a:defRPr sz="1900" b="1" kern="1200">
        <a:solidFill>
          <a:schemeClr val="tx1"/>
        </a:solidFill>
        <a:latin typeface="Arial" charset="0"/>
        <a:ea typeface="+mn-ea"/>
        <a:cs typeface="+mn-cs"/>
      </a:defRPr>
    </a:lvl6pPr>
    <a:lvl7pPr marL="3665077" algn="l" defTabSz="1221692" rtl="0" eaLnBrk="1" latinLnBrk="0" hangingPunct="1">
      <a:defRPr sz="1900" b="1" kern="1200">
        <a:solidFill>
          <a:schemeClr val="tx1"/>
        </a:solidFill>
        <a:latin typeface="Arial" charset="0"/>
        <a:ea typeface="+mn-ea"/>
        <a:cs typeface="+mn-cs"/>
      </a:defRPr>
    </a:lvl7pPr>
    <a:lvl8pPr marL="4275923" algn="l" defTabSz="1221692" rtl="0" eaLnBrk="1" latinLnBrk="0" hangingPunct="1">
      <a:defRPr sz="1900" b="1" kern="1200">
        <a:solidFill>
          <a:schemeClr val="tx1"/>
        </a:solidFill>
        <a:latin typeface="Arial" charset="0"/>
        <a:ea typeface="+mn-ea"/>
        <a:cs typeface="+mn-cs"/>
      </a:defRPr>
    </a:lvl8pPr>
    <a:lvl9pPr marL="4886769" algn="l" defTabSz="1221692" rtl="0" eaLnBrk="1" latinLnBrk="0" hangingPunct="1">
      <a:defRPr sz="1900" b="1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/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omanovsky Roman" initials="RR" lastIdx="1" clrIdx="0"/>
  <p:cmAuthor id="1" name="Ekaterina Inozemtseva" initials="EI" lastIdx="1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66FF"/>
    <a:srgbClr val="FFBF9F"/>
    <a:srgbClr val="FFCAAF"/>
    <a:srgbClr val="FFB793"/>
    <a:srgbClr val="FFAB81"/>
    <a:srgbClr val="FF9966"/>
    <a:srgbClr val="5B8626"/>
    <a:srgbClr val="F18917"/>
    <a:srgbClr val="DAF0A8"/>
    <a:srgbClr val="FF33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Светлый стиль 2 -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505E3EF-67EA-436B-97B2-0124C06EBD24}" styleName="Средний стиль 4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1FECB4D8-DB02-4DC6-A0A2-4F2EBAE1DC90}" styleName="Средний стиль 1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D7AC3CCA-C797-4891-BE02-D94E43425B78}" styleName="Средний стиль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120" autoAdjust="0"/>
    <p:restoredTop sz="99293" autoAdjust="0"/>
  </p:normalViewPr>
  <p:slideViewPr>
    <p:cSldViewPr snapToGrid="0" snapToObjects="1">
      <p:cViewPr>
        <p:scale>
          <a:sx n="75" d="100"/>
          <a:sy n="75" d="100"/>
        </p:scale>
        <p:origin x="-1284" y="216"/>
      </p:cViewPr>
      <p:guideLst>
        <p:guide orient="horz" pos="3438"/>
        <p:guide orient="horz" pos="731"/>
        <p:guide orient="horz" pos="88"/>
        <p:guide orient="horz" pos="993"/>
        <p:guide orient="horz" pos="1414"/>
        <p:guide orient="horz" pos="5453"/>
        <p:guide orient="horz" pos="5884"/>
        <p:guide orient="horz" pos="5699"/>
        <p:guide pos="4138"/>
        <p:guide pos="1155"/>
        <p:guide pos="3117"/>
        <p:guide pos="757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30"/>
    </p:cViewPr>
  </p:sorterViewPr>
  <p:notesViewPr>
    <p:cSldViewPr snapToGrid="0" snapToObjects="1">
      <p:cViewPr varScale="1">
        <p:scale>
          <a:sx n="54" d="100"/>
          <a:sy n="54" d="100"/>
        </p:scale>
        <p:origin x="-3972" y="-120"/>
      </p:cViewPr>
      <p:guideLst>
        <p:guide orient="horz" pos="4505"/>
        <p:guide pos="312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26" Type="http://schemas.openxmlformats.org/officeDocument/2006/relationships/font" Target="fonts/font7.fntdata"/><Relationship Id="rId39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font" Target="fonts/font2.fntdata"/><Relationship Id="rId34" Type="http://schemas.openxmlformats.org/officeDocument/2006/relationships/font" Target="fonts/font15.fntdata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6.fntdata"/><Relationship Id="rId33" Type="http://schemas.openxmlformats.org/officeDocument/2006/relationships/font" Target="fonts/font14.fntdata"/><Relationship Id="rId38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1.fntdata"/><Relationship Id="rId29" Type="http://schemas.openxmlformats.org/officeDocument/2006/relationships/font" Target="fonts/font10.fntdata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5.fntdata"/><Relationship Id="rId32" Type="http://schemas.openxmlformats.org/officeDocument/2006/relationships/font" Target="fonts/font13.fntdata"/><Relationship Id="rId37" Type="http://schemas.openxmlformats.org/officeDocument/2006/relationships/font" Target="fonts/font18.fntdata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4.fntdata"/><Relationship Id="rId28" Type="http://schemas.openxmlformats.org/officeDocument/2006/relationships/font" Target="fonts/font9.fntdata"/><Relationship Id="rId36" Type="http://schemas.openxmlformats.org/officeDocument/2006/relationships/font" Target="fonts/font17.fntdata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31" Type="http://schemas.openxmlformats.org/officeDocument/2006/relationships/font" Target="fonts/font12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3.fntdata"/><Relationship Id="rId27" Type="http://schemas.openxmlformats.org/officeDocument/2006/relationships/font" Target="fonts/font8.fntdata"/><Relationship Id="rId30" Type="http://schemas.openxmlformats.org/officeDocument/2006/relationships/font" Target="fonts/font11.fntdata"/><Relationship Id="rId35" Type="http://schemas.openxmlformats.org/officeDocument/2006/relationships/font" Target="fonts/font16.fntdata"/><Relationship Id="rId43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9329176" y="14002724"/>
            <a:ext cx="532831" cy="2430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 defTabSz="1353589">
              <a:defRPr sz="1300" b="0"/>
            </a:lvl1pPr>
          </a:lstStyle>
          <a:p>
            <a:pPr>
              <a:defRPr/>
            </a:pPr>
            <a:fld id="{5EFD5B2C-F70E-4A18-80B5-D7D2CA0AB25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86637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68549" y="6796667"/>
            <a:ext cx="8120293" cy="7055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35761" tIns="66688" rIns="135761" bIns="6668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34819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68363" y="328613"/>
            <a:ext cx="8128000" cy="609600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052" name="Rectangle 4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9537074" y="14031512"/>
            <a:ext cx="324933" cy="2142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 defTabSz="1353589">
              <a:defRPr sz="1300" b="0"/>
            </a:lvl1pPr>
          </a:lstStyle>
          <a:p>
            <a:pPr>
              <a:defRPr/>
            </a:pPr>
            <a:fld id="{C8725C74-95DD-4059-B11B-683323D8F3F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46286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237551" indent="-237551" algn="l" rtl="0" eaLnBrk="0" fontAlgn="base" hangingPunct="0">
      <a:spcBef>
        <a:spcPct val="100000"/>
      </a:spcBef>
      <a:spcAft>
        <a:spcPct val="0"/>
      </a:spcAft>
      <a:buFont typeface="Wingdings" pitchFamily="2" charset="2"/>
      <a:buChar char="§"/>
      <a:defRPr sz="1300" kern="1200">
        <a:solidFill>
          <a:schemeClr val="tx1"/>
        </a:solidFill>
        <a:latin typeface="Arial" charset="0"/>
        <a:ea typeface="+mn-ea"/>
        <a:cs typeface="+mn-cs"/>
      </a:defRPr>
    </a:lvl1pPr>
    <a:lvl2pPr marL="458134" indent="-218462" algn="l" rtl="0" eaLnBrk="0" fontAlgn="base" hangingPunct="0">
      <a:lnSpc>
        <a:spcPct val="85000"/>
      </a:lnSpc>
      <a:spcBef>
        <a:spcPct val="45000"/>
      </a:spcBef>
      <a:spcAft>
        <a:spcPct val="0"/>
      </a:spcAft>
      <a:buChar char="–"/>
      <a:defRPr sz="1300" kern="1200">
        <a:solidFill>
          <a:schemeClr val="tx1"/>
        </a:solidFill>
        <a:latin typeface="Arial" charset="0"/>
        <a:ea typeface="+mn-ea"/>
        <a:cs typeface="+mn-cs"/>
      </a:defRPr>
    </a:lvl2pPr>
    <a:lvl3pPr marL="1527116" indent="-305423" algn="l" rtl="0" eaLnBrk="0" fontAlgn="base" hangingPunct="0">
      <a:lnSpc>
        <a:spcPct val="85000"/>
      </a:lnSpc>
      <a:spcBef>
        <a:spcPct val="45000"/>
      </a:spcBef>
      <a:spcAft>
        <a:spcPct val="0"/>
      </a:spcAft>
      <a:buFont typeface="Webdings" pitchFamily="18" charset="2"/>
      <a:defRPr sz="1300" kern="1200">
        <a:solidFill>
          <a:schemeClr val="tx1"/>
        </a:solidFill>
        <a:latin typeface="Arial" charset="0"/>
        <a:ea typeface="+mn-ea"/>
        <a:cs typeface="+mn-cs"/>
      </a:defRPr>
    </a:lvl3pPr>
    <a:lvl4pPr marL="2137961" indent="-305423" algn="l" rtl="0" eaLnBrk="0" fontAlgn="base" hangingPunct="0">
      <a:lnSpc>
        <a:spcPct val="85000"/>
      </a:lnSpc>
      <a:spcBef>
        <a:spcPct val="45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4pPr>
    <a:lvl5pPr marL="2748808" indent="-305423" algn="l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Book Antiqua" pitchFamily="18" charset="0"/>
        <a:ea typeface="+mn-ea"/>
        <a:cs typeface="+mn-cs"/>
      </a:defRPr>
    </a:lvl5pPr>
    <a:lvl6pPr marL="3054231" algn="l" defTabSz="122169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65077" algn="l" defTabSz="122169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75923" algn="l" defTabSz="122169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86769" algn="l" defTabSz="122169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4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8.xml"/><Relationship Id="rId7" Type="http://schemas.openxmlformats.org/officeDocument/2006/relationships/image" Target="../media/image2.jpe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2750163"/>
              </p:ext>
            </p:extLst>
          </p:nvPr>
        </p:nvGraphicFramePr>
        <p:xfrm>
          <a:off x="2" y="0"/>
          <a:ext cx="222250" cy="222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82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222250" cy="2222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960120" y="2982599"/>
            <a:ext cx="10881360" cy="2058035"/>
          </a:xfrm>
          <a:prstGeom prst="rect">
            <a:avLst/>
          </a:prstGeom>
        </p:spPr>
        <p:txBody>
          <a:bodyPr lIns="122169" tIns="61085" rIns="122169" bIns="61085"/>
          <a:lstStyle>
            <a:lvl1pPr>
              <a:defRPr>
                <a:sym typeface="Helvetica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1920240" y="5440680"/>
            <a:ext cx="8961120" cy="2453640"/>
          </a:xfrm>
          <a:prstGeom prst="rect">
            <a:avLst/>
          </a:prstGeom>
        </p:spPr>
        <p:txBody>
          <a:bodyPr lIns="122169" tIns="61085" rIns="122169" bIns="61085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sym typeface="Helvetica"/>
              </a:defRPr>
            </a:lvl1pPr>
            <a:lvl2pPr marL="6108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21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32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433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542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650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759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867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02560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05154" cy="222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0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05154" cy="2222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liennummernplatzhalter 4"/>
          <p:cNvSpPr txBox="1"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11722491" y="9201152"/>
            <a:ext cx="69342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9012202A-0966-4C86-88B9-13F21CEC4770}" type="slidenum">
              <a:rPr lang="en-US" sz="1600" b="0" smtClean="0"/>
              <a:pPr algn="r">
                <a:defRPr/>
              </a:pPr>
              <a:t>‹#›</a:t>
            </a:fld>
            <a:endParaRPr lang="en-US" sz="1600" b="0" smtClean="0"/>
          </a:p>
        </p:txBody>
      </p:sp>
      <p:pic>
        <p:nvPicPr>
          <p:cNvPr id="14" name="Picture 31" descr="\\A4-plus\lava\Макеты\2012\Сколково\Презентация\2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51893" y="112974"/>
            <a:ext cx="1626615" cy="1171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34" descr="\\A4-plus\lava\Макеты\2012\Сколково\Презентация\Рисунок2.jpg"/>
          <p:cNvPicPr>
            <a:picLocks noChangeAspect="1" noChangeArrowheads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7023"/>
          <a:stretch/>
        </p:blipFill>
        <p:spPr bwMode="auto">
          <a:xfrm>
            <a:off x="3" y="1"/>
            <a:ext cx="3106054" cy="4724399"/>
          </a:xfrm>
          <a:prstGeom prst="rect">
            <a:avLst/>
          </a:prstGeom>
          <a:noFill/>
        </p:spPr>
      </p:pic>
      <p:sp>
        <p:nvSpPr>
          <p:cNvPr id="2" name="Прямоугольник 1"/>
          <p:cNvSpPr/>
          <p:nvPr userDrawn="1"/>
        </p:nvSpPr>
        <p:spPr bwMode="auto">
          <a:xfrm>
            <a:off x="1799771" y="698499"/>
            <a:ext cx="1451429" cy="87595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88663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10" Type="http://schemas.openxmlformats.org/officeDocument/2006/relationships/image" Target="../media/image3.jpeg"/><Relationship Id="rId4" Type="http://schemas.openxmlformats.org/officeDocument/2006/relationships/vmlDrawing" Target="../drawings/vmlDrawing1.vml"/><Relationship Id="rId9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0" y="0"/>
          <a:ext cx="205154" cy="222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70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05154" cy="2222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liennummernplatzhalter 4"/>
          <p:cNvSpPr txBox="1">
            <a:spLocks noGrp="1"/>
          </p:cNvSpPr>
          <p:nvPr userDrawn="1">
            <p:custDataLst>
              <p:tags r:id="rId6"/>
            </p:custDataLst>
          </p:nvPr>
        </p:nvSpPr>
        <p:spPr bwMode="auto">
          <a:xfrm>
            <a:off x="11722491" y="9201152"/>
            <a:ext cx="69342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9012202A-0966-4C86-88B9-13F21CEC4770}" type="slidenum">
              <a:rPr lang="en-US" sz="1600" b="0" smtClean="0"/>
              <a:pPr algn="r">
                <a:defRPr/>
              </a:pPr>
              <a:t>‹#›</a:t>
            </a:fld>
            <a:endParaRPr lang="en-US" sz="1600" b="0" smtClean="0"/>
          </a:p>
        </p:txBody>
      </p:sp>
      <p:pic>
        <p:nvPicPr>
          <p:cNvPr id="16" name="Picture 31" descr="\\A4-plus\lava\Макеты\2012\Сколково\Презентация\2.jpg"/>
          <p:cNvPicPr>
            <a:picLocks noChangeAspect="1" noChangeArrowheads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51893" y="112974"/>
            <a:ext cx="1626615" cy="1171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34" descr="\\A4-plus\lava\Макеты\2012\Сколково\Презентация\Рисунок2.jpg"/>
          <p:cNvPicPr>
            <a:picLocks noChangeAspect="1" noChangeArrowheads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7023"/>
          <a:stretch/>
        </p:blipFill>
        <p:spPr bwMode="auto">
          <a:xfrm>
            <a:off x="3" y="1"/>
            <a:ext cx="3106054" cy="4724399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78" r:id="rId2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Book Antiqua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Book Antiqua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Book Antiqua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Book Antiqua" pitchFamily="18" charset="0"/>
        </a:defRPr>
      </a:lvl5pPr>
      <a:lvl6pPr marL="610845"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Book Antiqua" pitchFamily="18" charset="0"/>
        </a:defRPr>
      </a:lvl6pPr>
      <a:lvl7pPr marL="1221692"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Book Antiqua" pitchFamily="18" charset="0"/>
        </a:defRPr>
      </a:lvl7pPr>
      <a:lvl8pPr marL="1832539"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Book Antiqua" pitchFamily="18" charset="0"/>
        </a:defRPr>
      </a:lvl8pPr>
      <a:lvl9pPr marL="2443384"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Book Antiqua" pitchFamily="18" charset="0"/>
        </a:defRPr>
      </a:lvl9pPr>
    </p:titleStyle>
    <p:bodyStyle>
      <a:lvl1pPr marL="243915" indent="-243915" algn="l" rtl="0" eaLnBrk="0" fontAlgn="base" hangingPunct="0">
        <a:spcBef>
          <a:spcPct val="10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2100">
          <a:solidFill>
            <a:schemeClr val="tx1"/>
          </a:solidFill>
          <a:latin typeface="+mn-lt"/>
          <a:ea typeface="+mn-ea"/>
          <a:cs typeface="+mn-cs"/>
        </a:defRPr>
      </a:lvl1pPr>
      <a:lvl2pPr marL="475103" indent="-229067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chemeClr val="tx1"/>
        </a:buClr>
        <a:buFont typeface="Arial" charset="0"/>
        <a:buChar char="–"/>
        <a:defRPr sz="2100">
          <a:solidFill>
            <a:schemeClr val="tx1"/>
          </a:solidFill>
          <a:latin typeface="+mn-lt"/>
        </a:defRPr>
      </a:lvl2pPr>
      <a:lvl3pPr marL="3043626" indent="14848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rgbClr val="0B1F65"/>
        </a:buClr>
        <a:buFont typeface="Webdings" pitchFamily="18" charset="2"/>
        <a:defRPr sz="2100">
          <a:solidFill>
            <a:schemeClr val="tx1"/>
          </a:solidFill>
          <a:latin typeface="+mj-lt"/>
        </a:defRPr>
      </a:lvl3pPr>
      <a:lvl4pPr marL="3211185" indent="-1378646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rgbClr val="0B1F65"/>
        </a:buClr>
        <a:defRPr sz="2100">
          <a:solidFill>
            <a:schemeClr val="tx1"/>
          </a:solidFill>
          <a:latin typeface="+mj-lt"/>
        </a:defRPr>
      </a:lvl4pPr>
      <a:lvl5pPr marL="3363896" indent="-920512" algn="l" rtl="0" eaLnBrk="0" fontAlgn="base" hangingPunct="0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2100">
          <a:solidFill>
            <a:schemeClr val="tx1"/>
          </a:solidFill>
          <a:latin typeface="+mj-lt"/>
        </a:defRPr>
      </a:lvl5pPr>
      <a:lvl6pPr marL="3974741" algn="l" rtl="0" eaLnBrk="0" fontAlgn="base" hangingPunct="0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2100">
          <a:solidFill>
            <a:schemeClr val="tx1"/>
          </a:solidFill>
          <a:latin typeface="+mj-lt"/>
        </a:defRPr>
      </a:lvl6pPr>
      <a:lvl7pPr marL="4585588" algn="l" rtl="0" eaLnBrk="0" fontAlgn="base" hangingPunct="0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2100">
          <a:solidFill>
            <a:schemeClr val="tx1"/>
          </a:solidFill>
          <a:latin typeface="+mj-lt"/>
        </a:defRPr>
      </a:lvl7pPr>
      <a:lvl8pPr marL="5196435" algn="l" rtl="0" eaLnBrk="0" fontAlgn="base" hangingPunct="0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2100">
          <a:solidFill>
            <a:schemeClr val="tx1"/>
          </a:solidFill>
          <a:latin typeface="+mj-lt"/>
        </a:defRPr>
      </a:lvl8pPr>
      <a:lvl9pPr marL="5807281" algn="l" rtl="0" eaLnBrk="0" fontAlgn="base" hangingPunct="0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2100">
          <a:solidFill>
            <a:schemeClr val="tx1"/>
          </a:solidFill>
          <a:latin typeface="+mj-lt"/>
        </a:defRPr>
      </a:lvl9pPr>
    </p:bodyStyle>
    <p:otherStyle>
      <a:defPPr>
        <a:defRPr lang="de-DE"/>
      </a:defPPr>
      <a:lvl1pPr marL="0" algn="l" defTabSz="122169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10845" algn="l" defTabSz="122169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21692" algn="l" defTabSz="122169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32539" algn="l" defTabSz="122169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43384" algn="l" defTabSz="122169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54231" algn="l" defTabSz="122169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65077" algn="l" defTabSz="122169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75923" algn="l" defTabSz="122169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86769" algn="l" defTabSz="122169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9"/>
          <p:cNvSpPr txBox="1">
            <a:spLocks noChangeArrowheads="1"/>
          </p:cNvSpPr>
          <p:nvPr/>
        </p:nvSpPr>
        <p:spPr>
          <a:xfrm>
            <a:off x="270657" y="3234518"/>
            <a:ext cx="12316117" cy="2594781"/>
          </a:xfrm>
          <a:prstGeom prst="rect">
            <a:avLst/>
          </a:prstGeom>
        </p:spPr>
        <p:txBody>
          <a:bodyPr lIns="122169" tIns="61085" rIns="122169" bIns="61085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  <a:sym typeface="Helvetica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5pPr>
            <a:lvl6pPr marL="457117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6pPr>
            <a:lvl7pPr marL="914235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7pPr>
            <a:lvl8pPr marL="1371353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8pPr>
            <a:lvl9pPr marL="182847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9pPr>
          </a:lstStyle>
          <a:p>
            <a:pPr algn="ctr" eaLnBrk="1" hangingPunct="1"/>
            <a:r>
              <a:rPr lang="ru-RU" sz="4400" dirty="0" smtClean="0">
                <a:latin typeface="Calibri" pitchFamily="34" charset="0"/>
                <a:cs typeface="Calibri" pitchFamily="34" charset="0"/>
              </a:rPr>
              <a:t>Проектирование и строительство инновационного </a:t>
            </a:r>
            <a:r>
              <a:rPr lang="ru-RU" sz="4400" dirty="0">
                <a:latin typeface="Calibri" pitchFamily="34" charset="0"/>
                <a:cs typeface="Calibri" pitchFamily="34" charset="0"/>
              </a:rPr>
              <a:t>центра «</a:t>
            </a:r>
            <a:r>
              <a:rPr lang="ru-RU" sz="4400" dirty="0" smtClean="0">
                <a:latin typeface="Calibri" pitchFamily="34" charset="0"/>
                <a:cs typeface="Calibri" pitchFamily="34" charset="0"/>
              </a:rPr>
              <a:t>Сколково»</a:t>
            </a:r>
            <a:endParaRPr lang="ru-RU" sz="3200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11922826" y="8894618"/>
            <a:ext cx="605642" cy="58189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" name="Rectangle 9"/>
          <p:cNvSpPr txBox="1">
            <a:spLocks noChangeArrowheads="1"/>
          </p:cNvSpPr>
          <p:nvPr/>
        </p:nvSpPr>
        <p:spPr>
          <a:xfrm>
            <a:off x="270657" y="5828838"/>
            <a:ext cx="12316117" cy="3065780"/>
          </a:xfrm>
          <a:prstGeom prst="rect">
            <a:avLst/>
          </a:prstGeom>
        </p:spPr>
        <p:txBody>
          <a:bodyPr lIns="122169" tIns="61085" rIns="122169" bIns="61085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  <a:sym typeface="Helvetica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5pPr>
            <a:lvl6pPr marL="457117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6pPr>
            <a:lvl7pPr marL="914235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7pPr>
            <a:lvl8pPr marL="1371353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8pPr>
            <a:lvl9pPr marL="182847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9pPr>
          </a:lstStyle>
          <a:p>
            <a:pPr algn="ctr" eaLnBrk="1" hangingPunct="1"/>
            <a:r>
              <a:rPr lang="ru-RU" sz="2800" dirty="0" smtClean="0">
                <a:latin typeface="Calibri" pitchFamily="34" charset="0"/>
                <a:cs typeface="Calibri" pitchFamily="34" charset="0"/>
              </a:rPr>
              <a:t>Информация для Градостроительного совета</a:t>
            </a:r>
          </a:p>
          <a:p>
            <a:pPr algn="ctr" eaLnBrk="1" hangingPunct="1"/>
            <a:endParaRPr lang="ru-RU" sz="2800" dirty="0">
              <a:latin typeface="Calibri" pitchFamily="34" charset="0"/>
              <a:cs typeface="Calibri" pitchFamily="34" charset="0"/>
            </a:endParaRPr>
          </a:p>
          <a:p>
            <a:pPr algn="ctr" eaLnBrk="1" hangingPunct="1"/>
            <a:r>
              <a:rPr lang="ru-RU" sz="2800" dirty="0" smtClean="0">
                <a:latin typeface="Calibri" pitchFamily="34" charset="0"/>
                <a:cs typeface="Calibri" pitchFamily="34" charset="0"/>
              </a:rPr>
              <a:t>29 марта 2013 года</a:t>
            </a:r>
            <a:endParaRPr lang="ru-RU" sz="1800" dirty="0" smtClean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3161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416854" y="724394"/>
            <a:ext cx="11261651" cy="649109"/>
          </a:xfrm>
          <a:prstGeom prst="rect">
            <a:avLst/>
          </a:prstGeom>
        </p:spPr>
        <p:txBody>
          <a:bodyPr/>
          <a:lstStyle/>
          <a:p>
            <a:r>
              <a:rPr lang="ru-RU" dirty="0" smtClean="0">
                <a:latin typeface="Calibri" pitchFamily="34" charset="0"/>
                <a:cs typeface="Calibri" pitchFamily="34" charset="0"/>
              </a:rPr>
              <a:t>Внешние объекты дорожной инфраструктуры</a:t>
            </a:r>
            <a:endParaRPr lang="ru-RU" dirty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7551081"/>
              </p:ext>
            </p:extLst>
          </p:nvPr>
        </p:nvGraphicFramePr>
        <p:xfrm>
          <a:off x="142505" y="1460668"/>
          <a:ext cx="6423394" cy="6746383"/>
        </p:xfrm>
        <a:graphic>
          <a:graphicData uri="http://schemas.openxmlformats.org/drawingml/2006/table">
            <a:tbl>
              <a:tblPr firstRow="1" bandRow="1">
                <a:tableStyleId>{8EC20E35-A176-4012-BC5E-935CFFF8708E}</a:tableStyleId>
              </a:tblPr>
              <a:tblGrid>
                <a:gridCol w="145214"/>
                <a:gridCol w="3054258"/>
                <a:gridCol w="1415518"/>
                <a:gridCol w="933806"/>
                <a:gridCol w="874598"/>
              </a:tblGrid>
              <a:tr h="249371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1200" u="none" strike="noStrike" dirty="0">
                          <a:effectLst/>
                        </a:rPr>
                        <a:t>ВНЕШНИЕ ОБЪЕКТЫ И МЕРОПРИЯТИЯ, ОБЕСПЕЧИВАЮЩИЕ ФУНКЦИОНИРОВАНИЕ ИЦ СКОЛКОВО</a:t>
                      </a:r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Ответственный исполнитель</a:t>
                      </a:r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 Дата начала строительства </a:t>
                      </a:r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 Дата ввода в эксплуатацию </a:t>
                      </a:r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</a:tr>
              <a:tr h="482743">
                <a:tc>
                  <a:txBody>
                    <a:bodyPr/>
                    <a:lstStyle/>
                    <a:p>
                      <a:pPr algn="l" rtl="0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u="none" strike="noStrike" dirty="0">
                          <a:effectLst/>
                        </a:rPr>
                        <a:t>Дорожная инфраструктура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u="none" strike="noStrike">
                          <a:effectLst/>
                        </a:rPr>
                        <a:t> 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100" u="none" strike="noStrike" dirty="0">
                          <a:effectLst/>
                        </a:rPr>
                        <a:t> 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100" u="none" strike="noStrike" dirty="0">
                          <a:effectLst/>
                        </a:rPr>
                        <a:t> 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</a:tr>
              <a:tr h="482743"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u="none" strike="noStrike" dirty="0" smtClean="0">
                          <a:effectLst/>
                        </a:rPr>
                        <a:t>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u="none" strike="noStrike" dirty="0" smtClean="0">
                          <a:effectLst/>
                        </a:rPr>
                        <a:t>Строительство примыкания к автомобильной дороге федерального значения М-1 «Беларусь», левая сторона, км 1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7145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ГУ Дорожного хозяйства МО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июн.1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дек.13</a:t>
                      </a:r>
                    </a:p>
                  </a:txBody>
                  <a:tcPr marL="0" marR="0" marT="0" marB="0" anchor="ctr"/>
                </a:tc>
              </a:tr>
              <a:tr h="482743"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u="none" strike="noStrike" dirty="0" smtClean="0">
                          <a:effectLst/>
                        </a:rPr>
                        <a:t>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u="none" strike="noStrike" dirty="0" smtClean="0">
                          <a:effectLst/>
                        </a:rPr>
                        <a:t>Строительство подъезда к инновационному центру «Сколково» с внешней стороны от 52 км МКАД в Одинцовском муниципальном районе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7145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ГУ Дорожного хозяйства МО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июн.1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дек.13</a:t>
                      </a:r>
                    </a:p>
                  </a:txBody>
                  <a:tcPr marL="0" marR="0" marT="0" marB="0" anchor="ctr"/>
                </a:tc>
              </a:tr>
              <a:tr h="482743"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u="none" strike="noStrike" dirty="0" smtClean="0">
                          <a:effectLst/>
                        </a:rPr>
                        <a:t>3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u="none" strike="noStrike" dirty="0" smtClean="0">
                          <a:effectLst/>
                        </a:rPr>
                        <a:t>Реконструкция транспортной развязки на 19 км Можайского шоссе в Одинцовском муниципальном районе 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7145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ГУ Дорожного хозяйства МО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июн.1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май.14</a:t>
                      </a:r>
                    </a:p>
                  </a:txBody>
                  <a:tcPr marL="0" marR="0" marT="0" marB="0" anchor="ctr"/>
                </a:tc>
              </a:tr>
              <a:tr h="482743"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u="none" strike="noStrike" dirty="0" smtClean="0">
                          <a:effectLst/>
                        </a:rPr>
                        <a:t>4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u="none" strike="noStrike" dirty="0" smtClean="0">
                          <a:effectLst/>
                        </a:rPr>
                        <a:t>Строительство подъезда к Инновационному центру "Сколково" от транспортной развязки на 50 км МКАД в Одинцовском муниципальном районе Московской области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7145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ГУ Дорожного хозяйства МО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мар.1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май.14</a:t>
                      </a:r>
                    </a:p>
                  </a:txBody>
                  <a:tcPr marL="0" marR="0" marT="0" marB="0" anchor="ctr"/>
                </a:tc>
              </a:tr>
              <a:tr h="482743"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u="none" strike="noStrike" dirty="0" smtClean="0">
                          <a:effectLst/>
                        </a:rPr>
                        <a:t>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u="none" strike="noStrike" smtClean="0">
                          <a:effectLst/>
                        </a:rPr>
                        <a:t>Строительство подъезда к Инновационному центру "Сколково" со стороны Сколковского шоссе, в районе д.Марфино и д.Немчиново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7145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ГУ Дорожного хозяйства МО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авг.1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дек.14</a:t>
                      </a:r>
                    </a:p>
                  </a:txBody>
                  <a:tcPr marL="0" marR="0" marT="0" marB="0" anchor="ctr"/>
                </a:tc>
              </a:tr>
              <a:tr h="482743"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u="none" strike="noStrike" dirty="0" smtClean="0">
                          <a:effectLst/>
                        </a:rPr>
                        <a:t>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u="none" strike="noStrike" smtClean="0">
                          <a:effectLst/>
                        </a:rPr>
                        <a:t>Строительство транспортной развязки на км 19 автомобильной дороги федерального значения М-1 «Беларусь» – от Москвы до границы с Республикой Беларусь (на Минск, Брест) для обеспечения к подъезду к ИЦ Сколково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7145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ГК "Автодор"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окт.1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май.14</a:t>
                      </a:r>
                    </a:p>
                  </a:txBody>
                  <a:tcPr marL="0" marR="0" marT="0" marB="0" anchor="ctr"/>
                </a:tc>
              </a:tr>
              <a:tr h="482743"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u="none" strike="noStrike" dirty="0" smtClean="0">
                          <a:effectLst/>
                        </a:rPr>
                        <a:t>7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u="none" strike="noStrike" smtClean="0">
                          <a:effectLst/>
                        </a:rPr>
                        <a:t>Строительство примыкания к автомобильной дороге федерального значения М-1 «Беларусь», левая сторона, км 21.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7145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не определен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мар.1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май.14</a:t>
                      </a:r>
                    </a:p>
                  </a:txBody>
                  <a:tcPr marL="0" marR="0" marT="0" marB="0" anchor="ctr"/>
                </a:tc>
              </a:tr>
              <a:tr h="482743"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u="none" strike="noStrike" dirty="0" smtClean="0">
                          <a:effectLst/>
                        </a:rPr>
                        <a:t>8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u="none" strike="noStrike" dirty="0" smtClean="0">
                          <a:effectLst/>
                        </a:rPr>
                        <a:t>Строительство дороги от остановки общественного транспорта на </a:t>
                      </a:r>
                      <a:r>
                        <a:rPr lang="ru-RU" sz="1100" u="none" strike="noStrike" dirty="0" err="1" smtClean="0">
                          <a:effectLst/>
                        </a:rPr>
                        <a:t>ст.Солнечная</a:t>
                      </a:r>
                      <a:r>
                        <a:rPr lang="ru-RU" sz="1100" u="none" strike="noStrike" dirty="0" smtClean="0">
                          <a:effectLst/>
                        </a:rPr>
                        <a:t> до ИЦ "Сколково" (2,4 км)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7145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не определен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июл.1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дек.14</a:t>
                      </a: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  <p:grpSp>
        <p:nvGrpSpPr>
          <p:cNvPr id="7" name="Group 6"/>
          <p:cNvGrpSpPr/>
          <p:nvPr/>
        </p:nvGrpSpPr>
        <p:grpSpPr>
          <a:xfrm>
            <a:off x="6771519" y="1460668"/>
            <a:ext cx="5629645" cy="6092038"/>
            <a:chOff x="6771519" y="1460668"/>
            <a:chExt cx="5629645" cy="6092038"/>
          </a:xfrm>
        </p:grpSpPr>
        <p:pic>
          <p:nvPicPr>
            <p:cNvPr id="113665" name="Picture 1"/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71519" y="1460668"/>
              <a:ext cx="5629645" cy="6092038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4" name="Rectangle 3"/>
            <p:cNvSpPr/>
            <p:nvPr/>
          </p:nvSpPr>
          <p:spPr>
            <a:xfrm>
              <a:off x="9481795" y="2891135"/>
              <a:ext cx="412292" cy="584775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ru-RU" sz="3200" b="1" cap="none" spc="0" dirty="0" smtClean="0">
                  <a:ln w="18000">
                    <a:solidFill>
                      <a:schemeClr val="bg1"/>
                    </a:solidFill>
                    <a:prstDash val="solid"/>
                    <a:miter lim="800000"/>
                  </a:ln>
                  <a:solidFill>
                    <a:srgbClr val="FF0000"/>
                  </a:solidFill>
                  <a:effectLst>
                    <a:outerShdw blurRad="25500" dist="23000" dir="7020000" algn="tl">
                      <a:srgbClr val="000000">
                        <a:alpha val="50000"/>
                      </a:srgbClr>
                    </a:outerShdw>
                  </a:effectLst>
                </a:rPr>
                <a:t>1</a:t>
              </a:r>
              <a:endParaRPr lang="en-US" sz="3200" b="1" cap="none" spc="0" dirty="0">
                <a:ln w="18000">
                  <a:solidFill>
                    <a:schemeClr val="bg1"/>
                  </a:solidFill>
                  <a:prstDash val="solid"/>
                  <a:miter lim="800000"/>
                </a:ln>
                <a:solidFill>
                  <a:srgbClr val="FF0000"/>
                </a:solidFill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10046487" y="3475910"/>
              <a:ext cx="412292" cy="584775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ru-RU" sz="3200" dirty="0">
                  <a:ln w="18000">
                    <a:solidFill>
                      <a:schemeClr val="bg1"/>
                    </a:solidFill>
                    <a:prstDash val="solid"/>
                    <a:miter lim="800000"/>
                  </a:ln>
                  <a:solidFill>
                    <a:srgbClr val="FF0000"/>
                  </a:solidFill>
                  <a:effectLst>
                    <a:outerShdw blurRad="25500" dist="23000" dir="7020000" algn="tl">
                      <a:srgbClr val="000000">
                        <a:alpha val="50000"/>
                      </a:srgbClr>
                    </a:outerShdw>
                  </a:effectLst>
                </a:rPr>
                <a:t>2</a:t>
              </a:r>
              <a:endParaRPr lang="en-US" sz="3200" b="1" cap="none" spc="0" dirty="0">
                <a:ln w="18000">
                  <a:solidFill>
                    <a:schemeClr val="bg1"/>
                  </a:solidFill>
                  <a:prstDash val="solid"/>
                  <a:miter lim="800000"/>
                </a:ln>
                <a:solidFill>
                  <a:srgbClr val="FF0000"/>
                </a:solidFill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7852333" y="4273270"/>
              <a:ext cx="412292" cy="584775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ru-RU" sz="3200" dirty="0" smtClean="0">
                  <a:ln w="18000">
                    <a:solidFill>
                      <a:schemeClr val="bg1"/>
                    </a:solidFill>
                    <a:prstDash val="solid"/>
                    <a:miter lim="800000"/>
                  </a:ln>
                  <a:solidFill>
                    <a:srgbClr val="FF0000"/>
                  </a:solidFill>
                  <a:effectLst>
                    <a:outerShdw blurRad="25500" dist="23000" dir="7020000" algn="tl">
                      <a:srgbClr val="000000">
                        <a:alpha val="50000"/>
                      </a:srgbClr>
                    </a:outerShdw>
                  </a:effectLst>
                </a:rPr>
                <a:t>3</a:t>
              </a:r>
              <a:endParaRPr lang="en-US" sz="3200" b="1" cap="none" spc="0" dirty="0">
                <a:ln w="18000">
                  <a:solidFill>
                    <a:schemeClr val="bg1"/>
                  </a:solidFill>
                  <a:prstDash val="solid"/>
                  <a:miter lim="800000"/>
                </a:ln>
                <a:solidFill>
                  <a:srgbClr val="FF0000"/>
                </a:solidFill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0989233" y="5010445"/>
              <a:ext cx="412292" cy="584775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ru-RU" sz="3200" dirty="0">
                  <a:ln w="18000">
                    <a:solidFill>
                      <a:schemeClr val="bg1"/>
                    </a:solidFill>
                    <a:prstDash val="solid"/>
                    <a:miter lim="800000"/>
                  </a:ln>
                  <a:solidFill>
                    <a:srgbClr val="FF0000"/>
                  </a:solidFill>
                  <a:effectLst>
                    <a:outerShdw blurRad="25500" dist="23000" dir="7020000" algn="tl">
                      <a:srgbClr val="000000">
                        <a:alpha val="50000"/>
                      </a:srgbClr>
                    </a:outerShdw>
                  </a:effectLst>
                </a:rPr>
                <a:t>4</a:t>
              </a:r>
              <a:endParaRPr lang="en-US" sz="3200" b="1" cap="none" spc="0" dirty="0">
                <a:ln w="18000">
                  <a:solidFill>
                    <a:schemeClr val="bg1"/>
                  </a:solidFill>
                  <a:prstDash val="solid"/>
                  <a:miter lim="800000"/>
                </a:ln>
                <a:solidFill>
                  <a:srgbClr val="FF0000"/>
                </a:solidFill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9297974" y="4870457"/>
              <a:ext cx="412292" cy="584775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ru-RU" sz="3200" dirty="0">
                  <a:ln w="18000">
                    <a:solidFill>
                      <a:schemeClr val="bg1"/>
                    </a:solidFill>
                    <a:prstDash val="solid"/>
                    <a:miter lim="800000"/>
                  </a:ln>
                  <a:solidFill>
                    <a:srgbClr val="FF0000"/>
                  </a:solidFill>
                  <a:effectLst>
                    <a:outerShdw blurRad="25500" dist="23000" dir="7020000" algn="tl">
                      <a:srgbClr val="000000">
                        <a:alpha val="50000"/>
                      </a:srgbClr>
                    </a:outerShdw>
                  </a:effectLst>
                </a:rPr>
                <a:t>5</a:t>
              </a:r>
              <a:endParaRPr lang="en-US" sz="3200" b="1" cap="none" spc="0" dirty="0">
                <a:ln w="18000">
                  <a:solidFill>
                    <a:schemeClr val="bg1"/>
                  </a:solidFill>
                  <a:prstDash val="solid"/>
                  <a:miter lim="800000"/>
                </a:ln>
                <a:solidFill>
                  <a:srgbClr val="FF0000"/>
                </a:solidFill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8612174" y="3359157"/>
              <a:ext cx="412292" cy="584775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ru-RU" sz="3200" dirty="0" smtClean="0">
                  <a:ln w="18000">
                    <a:solidFill>
                      <a:schemeClr val="bg1"/>
                    </a:solidFill>
                    <a:prstDash val="solid"/>
                    <a:miter lim="800000"/>
                  </a:ln>
                  <a:solidFill>
                    <a:srgbClr val="FF0000"/>
                  </a:solidFill>
                  <a:effectLst>
                    <a:outerShdw blurRad="25500" dist="23000" dir="7020000" algn="tl">
                      <a:srgbClr val="000000">
                        <a:alpha val="50000"/>
                      </a:srgbClr>
                    </a:outerShdw>
                  </a:effectLst>
                </a:rPr>
                <a:t>6</a:t>
              </a:r>
              <a:endParaRPr lang="en-US" sz="3200" b="1" cap="none" spc="0" dirty="0">
                <a:ln w="18000">
                  <a:solidFill>
                    <a:schemeClr val="bg1"/>
                  </a:solidFill>
                  <a:prstDash val="solid"/>
                  <a:miter lim="800000"/>
                </a:ln>
                <a:solidFill>
                  <a:srgbClr val="FF0000"/>
                </a:solidFill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7646187" y="5195176"/>
              <a:ext cx="412292" cy="584775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ru-RU" sz="3200" dirty="0" smtClean="0">
                  <a:ln w="18000">
                    <a:solidFill>
                      <a:schemeClr val="bg1"/>
                    </a:solidFill>
                    <a:prstDash val="solid"/>
                    <a:miter lim="800000"/>
                  </a:ln>
                  <a:solidFill>
                    <a:srgbClr val="FF0000"/>
                  </a:solidFill>
                  <a:effectLst>
                    <a:outerShdw blurRad="25500" dist="23000" dir="7020000" algn="tl">
                      <a:srgbClr val="000000">
                        <a:alpha val="50000"/>
                      </a:srgbClr>
                    </a:outerShdw>
                  </a:effectLst>
                </a:rPr>
                <a:t>7</a:t>
              </a:r>
              <a:endParaRPr lang="en-US" sz="3200" b="1" cap="none" spc="0" dirty="0">
                <a:ln w="18000">
                  <a:solidFill>
                    <a:schemeClr val="bg1"/>
                  </a:solidFill>
                  <a:prstDash val="solid"/>
                  <a:miter lim="800000"/>
                </a:ln>
                <a:solidFill>
                  <a:srgbClr val="FF0000"/>
                </a:solidFill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9707320" y="6566776"/>
              <a:ext cx="412292" cy="584775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ru-RU" sz="3200" dirty="0" smtClean="0">
                  <a:ln w="18000">
                    <a:solidFill>
                      <a:schemeClr val="bg1"/>
                    </a:solidFill>
                    <a:prstDash val="solid"/>
                    <a:miter lim="800000"/>
                  </a:ln>
                  <a:solidFill>
                    <a:srgbClr val="FF0000"/>
                  </a:solidFill>
                  <a:effectLst>
                    <a:outerShdw blurRad="25500" dist="23000" dir="7020000" algn="tl">
                      <a:srgbClr val="000000">
                        <a:alpha val="50000"/>
                      </a:srgbClr>
                    </a:outerShdw>
                  </a:effectLst>
                </a:rPr>
                <a:t>8</a:t>
              </a:r>
              <a:endParaRPr lang="en-US" sz="3200" b="1" cap="none" spc="0" dirty="0">
                <a:ln w="18000">
                  <a:solidFill>
                    <a:schemeClr val="bg1"/>
                  </a:solidFill>
                  <a:prstDash val="solid"/>
                  <a:miter lim="800000"/>
                </a:ln>
                <a:solidFill>
                  <a:srgbClr val="FF0000"/>
                </a:solidFill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48250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418524" y="764144"/>
            <a:ext cx="10004219" cy="565982"/>
          </a:xfrm>
          <a:prstGeom prst="rect">
            <a:avLst/>
          </a:prstGeom>
        </p:spPr>
        <p:txBody>
          <a:bodyPr/>
          <a:lstStyle/>
          <a:p>
            <a:r>
              <a:rPr lang="ru-RU" dirty="0" smtClean="0">
                <a:latin typeface="Calibri" pitchFamily="34" charset="0"/>
                <a:cs typeface="Calibri" pitchFamily="34" charset="0"/>
              </a:rPr>
              <a:t>Внутригородские сети и дороги</a:t>
            </a:r>
            <a:endParaRPr lang="ru-RU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95480" y="6599284"/>
            <a:ext cx="1244121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latin typeface="Calibri" pitchFamily="34" charset="0"/>
                <a:cs typeface="Calibri" pitchFamily="34" charset="0"/>
              </a:rPr>
              <a:t>Основные характеристики объектов (ответственный исполнитель – ООО «ОДПС Сколково»):</a:t>
            </a:r>
          </a:p>
          <a:p>
            <a:r>
              <a:rPr lang="ru-RU" sz="1600" b="0" dirty="0">
                <a:latin typeface="Calibri" pitchFamily="34" charset="0"/>
                <a:cs typeface="Calibri" pitchFamily="34" charset="0"/>
              </a:rPr>
              <a:t>Магистральная сеть водоснабжения –                                                    </a:t>
            </a:r>
            <a:r>
              <a:rPr lang="ru-RU" sz="1600" b="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ru-RU" sz="1600" b="0" dirty="0">
                <a:latin typeface="Calibri" pitchFamily="34" charset="0"/>
                <a:cs typeface="Calibri" pitchFamily="34" charset="0"/>
              </a:rPr>
              <a:t> </a:t>
            </a:r>
            <a:r>
              <a:rPr lang="ru-RU" sz="1600" b="0" dirty="0" smtClean="0">
                <a:latin typeface="Calibri" pitchFamily="34" charset="0"/>
                <a:cs typeface="Calibri" pitchFamily="34" charset="0"/>
              </a:rPr>
              <a:t>6 470 м</a:t>
            </a:r>
            <a:endParaRPr lang="ru-RU" sz="1600" b="0" dirty="0">
              <a:latin typeface="Calibri" pitchFamily="34" charset="0"/>
              <a:cs typeface="Calibri" pitchFamily="34" charset="0"/>
            </a:endParaRPr>
          </a:p>
          <a:p>
            <a:r>
              <a:rPr lang="ru-RU" sz="1600" b="0" dirty="0">
                <a:latin typeface="Calibri" pitchFamily="34" charset="0"/>
                <a:cs typeface="Calibri" pitchFamily="34" charset="0"/>
              </a:rPr>
              <a:t>Распределительные сети водоснабжения –                                           </a:t>
            </a:r>
            <a:r>
              <a:rPr lang="ru-RU" sz="1600" b="0" dirty="0" smtClean="0">
                <a:latin typeface="Calibri" pitchFamily="34" charset="0"/>
                <a:cs typeface="Calibri" pitchFamily="34" charset="0"/>
              </a:rPr>
              <a:t> 11 125 м</a:t>
            </a:r>
            <a:endParaRPr lang="ru-RU" sz="1600" b="0" dirty="0">
              <a:latin typeface="Calibri" pitchFamily="34" charset="0"/>
              <a:cs typeface="Calibri" pitchFamily="34" charset="0"/>
            </a:endParaRPr>
          </a:p>
          <a:p>
            <a:r>
              <a:rPr lang="ru-RU" sz="1600" b="0" dirty="0">
                <a:latin typeface="Calibri" pitchFamily="34" charset="0"/>
                <a:cs typeface="Calibri" pitchFamily="34" charset="0"/>
              </a:rPr>
              <a:t>Головные системы водоотведения (КНС)  –                                            </a:t>
            </a:r>
            <a:r>
              <a:rPr lang="ru-RU" sz="1600" b="0" dirty="0" smtClean="0">
                <a:latin typeface="Calibri" pitchFamily="34" charset="0"/>
                <a:cs typeface="Calibri" pitchFamily="34" charset="0"/>
              </a:rPr>
              <a:t> 10 шт.</a:t>
            </a:r>
            <a:endParaRPr lang="ru-RU" sz="1600" b="0" dirty="0">
              <a:latin typeface="Calibri" pitchFamily="34" charset="0"/>
              <a:cs typeface="Calibri" pitchFamily="34" charset="0"/>
            </a:endParaRPr>
          </a:p>
          <a:p>
            <a:r>
              <a:rPr lang="ru-RU" sz="1600" b="0" dirty="0">
                <a:latin typeface="Calibri" pitchFamily="34" charset="0"/>
                <a:cs typeface="Calibri" pitchFamily="34" charset="0"/>
              </a:rPr>
              <a:t>Магистральные сети канализации   -                                                </a:t>
            </a:r>
            <a:r>
              <a:rPr lang="ru-RU" sz="1600" b="0" dirty="0" smtClean="0">
                <a:latin typeface="Calibri" pitchFamily="34" charset="0"/>
                <a:cs typeface="Calibri" pitchFamily="34" charset="0"/>
              </a:rPr>
              <a:t>         9 690 м</a:t>
            </a:r>
            <a:endParaRPr lang="ru-RU" sz="1600" b="0" dirty="0">
              <a:latin typeface="Calibri" pitchFamily="34" charset="0"/>
              <a:cs typeface="Calibri" pitchFamily="34" charset="0"/>
            </a:endParaRPr>
          </a:p>
          <a:p>
            <a:r>
              <a:rPr lang="ru-RU" sz="1600" b="0" dirty="0">
                <a:latin typeface="Calibri" pitchFamily="34" charset="0"/>
                <a:cs typeface="Calibri" pitchFamily="34" charset="0"/>
              </a:rPr>
              <a:t>Распределительные сети системы водоотведения  –                  </a:t>
            </a:r>
            <a:r>
              <a:rPr lang="ru-RU" sz="1600" b="0" dirty="0" smtClean="0">
                <a:latin typeface="Calibri" pitchFamily="34" charset="0"/>
                <a:cs typeface="Calibri" pitchFamily="34" charset="0"/>
              </a:rPr>
              <a:t>         11 650</a:t>
            </a:r>
            <a:r>
              <a:rPr lang="ru-RU" sz="1600" b="0" dirty="0">
                <a:latin typeface="Calibri" pitchFamily="34" charset="0"/>
                <a:cs typeface="Calibri" pitchFamily="34" charset="0"/>
              </a:rPr>
              <a:t>  </a:t>
            </a:r>
            <a:r>
              <a:rPr lang="ru-RU" sz="1600" b="0" dirty="0" smtClean="0">
                <a:latin typeface="Calibri" pitchFamily="34" charset="0"/>
                <a:cs typeface="Calibri" pitchFamily="34" charset="0"/>
              </a:rPr>
              <a:t>м</a:t>
            </a:r>
            <a:endParaRPr lang="ru-RU" sz="1600" b="0" dirty="0">
              <a:latin typeface="Calibri" pitchFamily="34" charset="0"/>
              <a:cs typeface="Calibri" pitchFamily="34" charset="0"/>
            </a:endParaRPr>
          </a:p>
          <a:p>
            <a:r>
              <a:rPr lang="ru-RU" sz="1600" b="0" dirty="0">
                <a:latin typeface="Calibri" pitchFamily="34" charset="0"/>
                <a:cs typeface="Calibri" pitchFamily="34" charset="0"/>
              </a:rPr>
              <a:t>Сети ливневой канализации –                                                                 </a:t>
            </a:r>
            <a:r>
              <a:rPr lang="ru-RU" sz="1600" b="0" dirty="0" smtClean="0">
                <a:latin typeface="Calibri" pitchFamily="34" charset="0"/>
                <a:cs typeface="Calibri" pitchFamily="34" charset="0"/>
              </a:rPr>
              <a:t>  </a:t>
            </a:r>
            <a:r>
              <a:rPr lang="ru-RU" sz="1600" b="0" dirty="0">
                <a:latin typeface="Calibri" pitchFamily="34" charset="0"/>
                <a:cs typeface="Calibri" pitchFamily="34" charset="0"/>
              </a:rPr>
              <a:t>  </a:t>
            </a:r>
            <a:r>
              <a:rPr lang="ru-RU" sz="1600" b="0" dirty="0" smtClean="0">
                <a:latin typeface="Calibri" pitchFamily="34" charset="0"/>
                <a:cs typeface="Calibri" pitchFamily="34" charset="0"/>
              </a:rPr>
              <a:t>35 420 м</a:t>
            </a:r>
            <a:endParaRPr lang="ru-RU" sz="1600" b="0" dirty="0">
              <a:latin typeface="Calibri" pitchFamily="34" charset="0"/>
              <a:cs typeface="Calibri" pitchFamily="34" charset="0"/>
            </a:endParaRPr>
          </a:p>
          <a:p>
            <a:r>
              <a:rPr lang="ru-RU" sz="1600" b="0" dirty="0">
                <a:latin typeface="Calibri" pitchFamily="34" charset="0"/>
                <a:cs typeface="Calibri" pitchFamily="34" charset="0"/>
              </a:rPr>
              <a:t>Магистральные сети теплоснабжения –                                                 </a:t>
            </a:r>
            <a:r>
              <a:rPr lang="ru-RU" sz="1600" b="0" dirty="0" smtClean="0">
                <a:latin typeface="Calibri" pitchFamily="34" charset="0"/>
                <a:cs typeface="Calibri" pitchFamily="34" charset="0"/>
              </a:rPr>
              <a:t>  19 964 м</a:t>
            </a:r>
            <a:endParaRPr lang="ru-RU" sz="1600" b="0" dirty="0">
              <a:latin typeface="Calibri" pitchFamily="34" charset="0"/>
              <a:cs typeface="Calibri" pitchFamily="34" charset="0"/>
            </a:endParaRPr>
          </a:p>
          <a:p>
            <a:r>
              <a:rPr lang="ru-RU" sz="1600" b="0" dirty="0">
                <a:latin typeface="Calibri" pitchFamily="34" charset="0"/>
                <a:cs typeface="Calibri" pitchFamily="34" charset="0"/>
              </a:rPr>
              <a:t>Магистральные и распределительные сети электроснабжения – </a:t>
            </a:r>
            <a:r>
              <a:rPr lang="ru-RU" sz="1600" b="0" dirty="0" smtClean="0">
                <a:latin typeface="Calibri" pitchFamily="34" charset="0"/>
                <a:cs typeface="Calibri" pitchFamily="34" charset="0"/>
              </a:rPr>
              <a:t>    689 500 м (ответственный исполнитель – ОАО «ФСК ЕЭС»)</a:t>
            </a:r>
            <a:endParaRPr lang="ru-RU" sz="1600" b="0" dirty="0">
              <a:latin typeface="Calibri" pitchFamily="34" charset="0"/>
              <a:cs typeface="Calibri" pitchFamily="34" charset="0"/>
            </a:endParaRPr>
          </a:p>
          <a:p>
            <a:r>
              <a:rPr lang="ru-RU" sz="1600" b="0" dirty="0">
                <a:latin typeface="Calibri" pitchFamily="34" charset="0"/>
                <a:cs typeface="Calibri" pitchFamily="34" charset="0"/>
              </a:rPr>
              <a:t>Система городского освещения –                                                            </a:t>
            </a:r>
            <a:r>
              <a:rPr lang="ru-RU" sz="1600" b="0" dirty="0" smtClean="0">
                <a:latin typeface="Calibri" pitchFamily="34" charset="0"/>
                <a:cs typeface="Calibri" pitchFamily="34" charset="0"/>
              </a:rPr>
              <a:t>   34 068 м</a:t>
            </a:r>
            <a:endParaRPr lang="ru-RU" sz="1600" b="0" dirty="0">
              <a:latin typeface="Calibri" pitchFamily="34" charset="0"/>
              <a:cs typeface="Calibri" pitchFamily="34" charset="0"/>
            </a:endParaRPr>
          </a:p>
          <a:p>
            <a:r>
              <a:rPr lang="ru-RU" sz="1600" b="0" dirty="0">
                <a:latin typeface="Calibri" pitchFamily="34" charset="0"/>
                <a:cs typeface="Calibri" pitchFamily="34" charset="0"/>
              </a:rPr>
              <a:t>Дороги –                                                                                                       </a:t>
            </a:r>
            <a:r>
              <a:rPr lang="ru-RU" sz="1600" b="0" dirty="0" smtClean="0">
                <a:latin typeface="Calibri" pitchFamily="34" charset="0"/>
                <a:cs typeface="Calibri" pitchFamily="34" charset="0"/>
              </a:rPr>
              <a:t>      28 088 м</a:t>
            </a:r>
            <a:endParaRPr lang="ru-RU" sz="1600" b="0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480" y="1614606"/>
            <a:ext cx="5272960" cy="29206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92555" y="1753960"/>
            <a:ext cx="6644136" cy="27812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479" y="4503761"/>
            <a:ext cx="12441211" cy="19925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89828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255540" y="795646"/>
            <a:ext cx="11422966" cy="488957"/>
          </a:xfrm>
          <a:prstGeom prst="rect">
            <a:avLst/>
          </a:prstGeom>
        </p:spPr>
        <p:txBody>
          <a:bodyPr/>
          <a:lstStyle/>
          <a:p>
            <a:r>
              <a:rPr lang="ru-RU" dirty="0" smtClean="0">
                <a:latin typeface="Calibri" pitchFamily="34" charset="0"/>
                <a:cs typeface="Calibri" pitchFamily="34" charset="0"/>
              </a:rPr>
              <a:t>Транспортный </a:t>
            </a:r>
            <a:r>
              <a:rPr lang="ru-RU" dirty="0" err="1" smtClean="0">
                <a:latin typeface="Calibri" pitchFamily="34" charset="0"/>
                <a:cs typeface="Calibri" pitchFamily="34" charset="0"/>
              </a:rPr>
              <a:t>хаб</a:t>
            </a:r>
            <a:r>
              <a:rPr lang="ru-RU" dirty="0" smtClean="0">
                <a:latin typeface="Calibri" pitchFamily="34" charset="0"/>
                <a:cs typeface="Calibri" pitchFamily="34" charset="0"/>
              </a:rPr>
              <a:t> – эстакада и вокзал</a:t>
            </a:r>
            <a:endParaRPr lang="ru-RU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61258" y="7821345"/>
            <a:ext cx="1241724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961">
              <a:spcAft>
                <a:spcPts val="0"/>
              </a:spcAft>
            </a:pPr>
            <a:r>
              <a:rPr lang="ru-RU" sz="2000" dirty="0" smtClean="0">
                <a:latin typeface="Calibri" pitchFamily="34" charset="0"/>
                <a:cs typeface="Calibri" pitchFamily="34" charset="0"/>
              </a:rPr>
              <a:t>Состав объекта:</a:t>
            </a:r>
          </a:p>
          <a:p>
            <a:pPr marL="400050" indent="-400050" defTabSz="913961">
              <a:spcAft>
                <a:spcPts val="0"/>
              </a:spcAft>
              <a:buFont typeface="Arial" pitchFamily="34" charset="0"/>
              <a:buChar char="•"/>
            </a:pPr>
            <a:r>
              <a:rPr lang="ru-RU" sz="1600" b="0" dirty="0" err="1" smtClean="0">
                <a:latin typeface="Calibri" pitchFamily="34" charset="0"/>
                <a:cs typeface="Calibri" pitchFamily="34" charset="0"/>
              </a:rPr>
              <a:t>Конкорс</a:t>
            </a:r>
            <a:r>
              <a:rPr lang="ru-RU" sz="1600" b="0" dirty="0">
                <a:latin typeface="Calibri" pitchFamily="34" charset="0"/>
                <a:cs typeface="Calibri" pitchFamily="34" charset="0"/>
              </a:rPr>
              <a:t>, обеспечивающий посадку/высадку пассажиров на новые железнодорожные платформы в непосредственной </a:t>
            </a:r>
            <a:r>
              <a:rPr lang="ru-RU" sz="1600" b="0" kern="100" dirty="0">
                <a:latin typeface="Calibri" pitchFamily="34" charset="0"/>
                <a:cs typeface="Calibri" pitchFamily="34" charset="0"/>
              </a:rPr>
              <a:t>близости от существующей станции «</a:t>
            </a:r>
            <a:r>
              <a:rPr lang="ru-RU" sz="1600" b="0" kern="100" dirty="0" err="1">
                <a:latin typeface="Calibri" pitchFamily="34" charset="0"/>
                <a:cs typeface="Calibri" pitchFamily="34" charset="0"/>
              </a:rPr>
              <a:t>Трёхгорка</a:t>
            </a:r>
            <a:r>
              <a:rPr lang="ru-RU" sz="1600" b="0" kern="100" dirty="0">
                <a:latin typeface="Calibri" pitchFamily="34" charset="0"/>
                <a:cs typeface="Calibri" pitchFamily="34" charset="0"/>
              </a:rPr>
              <a:t>»</a:t>
            </a:r>
          </a:p>
          <a:p>
            <a:pPr marL="400050" indent="-400050" defTabSz="913961">
              <a:spcAft>
                <a:spcPts val="0"/>
              </a:spcAft>
              <a:buFont typeface="Arial" pitchFamily="34" charset="0"/>
              <a:buChar char="•"/>
            </a:pPr>
            <a:r>
              <a:rPr lang="ru-RU" sz="1600" b="0" kern="100" dirty="0">
                <a:latin typeface="Calibri" pitchFamily="34" charset="0"/>
                <a:cs typeface="Calibri" pitchFamily="34" charset="0"/>
              </a:rPr>
              <a:t>Пешеходная зона, обеспечивающая связь </a:t>
            </a:r>
            <a:r>
              <a:rPr lang="ru-RU" sz="1600" b="0" kern="100" dirty="0" err="1">
                <a:latin typeface="Calibri" pitchFamily="34" charset="0"/>
                <a:cs typeface="Calibri" pitchFamily="34" charset="0"/>
              </a:rPr>
              <a:t>конкорса</a:t>
            </a:r>
            <a:r>
              <a:rPr lang="ru-RU" sz="1600" b="0" kern="100" dirty="0">
                <a:latin typeface="Calibri" pitchFamily="34" charset="0"/>
                <a:cs typeface="Calibri" pitchFamily="34" charset="0"/>
              </a:rPr>
              <a:t> с переходом через федеральную автодорогу М-1 «Беларусь»</a:t>
            </a:r>
          </a:p>
          <a:p>
            <a:pPr marL="400050" indent="-400050" defTabSz="913961">
              <a:spcAft>
                <a:spcPts val="0"/>
              </a:spcAft>
              <a:buFont typeface="Arial" pitchFamily="34" charset="0"/>
              <a:buChar char="•"/>
            </a:pPr>
            <a:r>
              <a:rPr lang="ru-RU" sz="1600" b="0" kern="100" dirty="0">
                <a:latin typeface="Calibri" pitchFamily="34" charset="0"/>
                <a:cs typeface="Calibri" pitchFamily="34" charset="0"/>
              </a:rPr>
              <a:t>Переход через федеральную автодорогу М-1 «Беларусь</a:t>
            </a:r>
            <a:r>
              <a:rPr lang="ru-RU" sz="1600" b="0" kern="100" dirty="0" smtClean="0">
                <a:latin typeface="Calibri" pitchFamily="34" charset="0"/>
                <a:cs typeface="Calibri" pitchFamily="34" charset="0"/>
              </a:rPr>
              <a:t>»</a:t>
            </a:r>
            <a:endParaRPr lang="ru-RU" sz="1600" b="0" kern="100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11618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248" b="29106"/>
          <a:stretch/>
        </p:blipFill>
        <p:spPr bwMode="auto">
          <a:xfrm>
            <a:off x="1562100" y="1492932"/>
            <a:ext cx="9040639" cy="6143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57656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255540" y="760020"/>
            <a:ext cx="11422966" cy="613483"/>
          </a:xfrm>
          <a:prstGeom prst="rect">
            <a:avLst/>
          </a:prstGeom>
        </p:spPr>
        <p:txBody>
          <a:bodyPr/>
          <a:lstStyle/>
          <a:p>
            <a:r>
              <a:rPr lang="ru-RU" dirty="0" smtClean="0">
                <a:latin typeface="Calibri" pitchFamily="34" charset="0"/>
                <a:cs typeface="Calibri" pitchFamily="34" charset="0"/>
              </a:rPr>
              <a:t>6. Офисный центр «Галерея»</a:t>
            </a:r>
            <a:endParaRPr lang="ru-RU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1366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7599" y="1466446"/>
            <a:ext cx="9222509" cy="5981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1778000" y="7688823"/>
            <a:ext cx="9309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ru-RU" sz="1800" b="0" dirty="0" smtClean="0">
                <a:latin typeface="Calibri" pitchFamily="34" charset="0"/>
              </a:rPr>
              <a:t>Проектная документация подготовлена для передачи в экспертизу.</a:t>
            </a:r>
          </a:p>
        </p:txBody>
      </p:sp>
    </p:spTree>
    <p:extLst>
      <p:ext uri="{BB962C8B-B14F-4D97-AF65-F5344CB8AC3E}">
        <p14:creationId xmlns:p14="http://schemas.microsoft.com/office/powerpoint/2010/main" val="3380354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255540" y="760021"/>
            <a:ext cx="11422966" cy="61348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ru-RU" kern="1200" dirty="0" smtClean="0">
                <a:latin typeface="Calibri" pitchFamily="34" charset="0"/>
                <a:ea typeface="+mn-ea"/>
                <a:cs typeface="Calibri" pitchFamily="34" charset="0"/>
              </a:rPr>
              <a:t>7. Деловой центр «Сколково» («Резиденция»)</a:t>
            </a:r>
            <a:endParaRPr lang="ru-RU" kern="1200" dirty="0">
              <a:latin typeface="Calibri" pitchFamily="34" charset="0"/>
              <a:ea typeface="+mn-ea"/>
              <a:cs typeface="Calibri" pitchFamily="34" charset="0"/>
            </a:endParaRPr>
          </a:p>
        </p:txBody>
      </p:sp>
      <p:pic>
        <p:nvPicPr>
          <p:cNvPr id="115715" name="Picture 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87699" y="1509990"/>
            <a:ext cx="6933211" cy="54469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1778000" y="7327185"/>
            <a:ext cx="9309100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ru-RU" sz="1800" b="0" dirty="0" smtClean="0">
                <a:latin typeface="Calibri" pitchFamily="34" charset="0"/>
              </a:rPr>
              <a:t>Проектная документация передана в экспертизу.</a:t>
            </a:r>
          </a:p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ru-RU" sz="1800" b="0" dirty="0" smtClean="0">
                <a:latin typeface="Calibri" pitchFamily="34" charset="0"/>
              </a:rPr>
              <a:t>Ведутся подготовительные работы.</a:t>
            </a:r>
          </a:p>
        </p:txBody>
      </p:sp>
    </p:spTree>
    <p:extLst>
      <p:ext uri="{BB962C8B-B14F-4D97-AF65-F5344CB8AC3E}">
        <p14:creationId xmlns:p14="http://schemas.microsoft.com/office/powerpoint/2010/main" val="14225547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255540" y="708507"/>
            <a:ext cx="11422966" cy="1211262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latin typeface="Calibri" pitchFamily="34" charset="0"/>
                <a:cs typeface="Calibri" pitchFamily="34" charset="0"/>
              </a:rPr>
              <a:t>8</a:t>
            </a:r>
            <a:r>
              <a:rPr lang="ru-RU" dirty="0" smtClean="0">
                <a:latin typeface="Calibri" pitchFamily="34" charset="0"/>
                <a:cs typeface="Calibri" pitchFamily="34" charset="0"/>
              </a:rPr>
              <a:t>. </a:t>
            </a:r>
            <a:r>
              <a:rPr lang="ru-RU" dirty="0" err="1" smtClean="0">
                <a:latin typeface="Calibri" pitchFamily="34" charset="0"/>
                <a:cs typeface="Calibri" pitchFamily="34" charset="0"/>
              </a:rPr>
              <a:t>Ренова</a:t>
            </a:r>
            <a:r>
              <a:rPr lang="ru-RU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ru-RU" dirty="0" err="1" smtClean="0">
                <a:latin typeface="Calibri" pitchFamily="34" charset="0"/>
                <a:cs typeface="Calibri" pitchFamily="34" charset="0"/>
              </a:rPr>
              <a:t>Лаб</a:t>
            </a:r>
            <a:endParaRPr lang="ru-RU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15714" name="Picture 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02" t="15000" r="11217" b="6522"/>
          <a:stretch/>
        </p:blipFill>
        <p:spPr bwMode="auto">
          <a:xfrm>
            <a:off x="1358899" y="1473200"/>
            <a:ext cx="5130801" cy="36958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5715" name="Picture 3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507"/>
          <a:stretch/>
        </p:blipFill>
        <p:spPr bwMode="auto">
          <a:xfrm>
            <a:off x="1358899" y="5234147"/>
            <a:ext cx="5130802" cy="25821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5716" name="Picture 4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181"/>
          <a:stretch/>
        </p:blipFill>
        <p:spPr bwMode="auto">
          <a:xfrm>
            <a:off x="6591164" y="1473200"/>
            <a:ext cx="5296036" cy="63430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778000" y="8023720"/>
            <a:ext cx="9309100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ru-RU" sz="1800" b="0" dirty="0" smtClean="0">
                <a:latin typeface="Calibri" pitchFamily="34" charset="0"/>
              </a:rPr>
              <a:t>Проектная документация передана в экспертизу.</a:t>
            </a:r>
          </a:p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ru-RU" sz="1800" b="0" dirty="0" smtClean="0">
                <a:latin typeface="Calibri" pitchFamily="34" charset="0"/>
              </a:rPr>
              <a:t>Ведутся подготовительные работы.</a:t>
            </a:r>
          </a:p>
        </p:txBody>
      </p:sp>
    </p:spTree>
    <p:extLst>
      <p:ext uri="{BB962C8B-B14F-4D97-AF65-F5344CB8AC3E}">
        <p14:creationId xmlns:p14="http://schemas.microsoft.com/office/powerpoint/2010/main" val="3652510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130300" y="800099"/>
            <a:ext cx="8666217" cy="1005369"/>
          </a:xfrm>
          <a:prstGeom prst="rect">
            <a:avLst/>
          </a:prstGeom>
        </p:spPr>
        <p:txBody>
          <a:bodyPr/>
          <a:lstStyle/>
          <a:p>
            <a:r>
              <a:rPr lang="ru-RU" dirty="0" smtClean="0">
                <a:latin typeface="Calibri" pitchFamily="34" charset="0"/>
                <a:cs typeface="Calibri" pitchFamily="34" charset="0"/>
              </a:rPr>
              <a:t>9. Центральная зона</a:t>
            </a:r>
            <a:endParaRPr lang="ru-RU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12643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643" y="1919770"/>
            <a:ext cx="5750399" cy="37408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7793053"/>
              </p:ext>
            </p:extLst>
          </p:nvPr>
        </p:nvGraphicFramePr>
        <p:xfrm>
          <a:off x="6092042" y="1919770"/>
          <a:ext cx="6578929" cy="5669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04880"/>
                <a:gridCol w="719607"/>
                <a:gridCol w="876761"/>
                <a:gridCol w="694794"/>
                <a:gridCol w="760961"/>
                <a:gridCol w="818863"/>
                <a:gridCol w="703063"/>
              </a:tblGrid>
              <a:tr h="7533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 gridSpan="6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Объем</a:t>
                      </a:r>
                      <a:r>
                        <a:rPr lang="ru-RU" sz="1200" baseline="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застройки в кварталах, кв. м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ru-RU" sz="7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ru-RU" sz="7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 marL="0" marR="0" indent="0" algn="l" defTabSz="4569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dirty="0" smtClean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ru-RU" sz="7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15066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Объекты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rgbClr val="FF0000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1</a:t>
                      </a:r>
                      <a:r>
                        <a:rPr lang="ru-RU" sz="1200" dirty="0" smtClean="0">
                          <a:solidFill>
                            <a:srgbClr val="FF0000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Госте-вой квартал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rgbClr val="3366FF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2</a:t>
                      </a:r>
                      <a:r>
                        <a:rPr lang="ru-RU" sz="1200" dirty="0" smtClean="0">
                          <a:solidFill>
                            <a:srgbClr val="3366FF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</a:t>
                      </a:r>
                      <a:r>
                        <a:rPr lang="ru-RU" sz="1200" dirty="0" err="1" smtClean="0">
                          <a:solidFill>
                            <a:srgbClr val="3366FF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Рыноч-ный</a:t>
                      </a:r>
                      <a:r>
                        <a:rPr lang="ru-RU" sz="1200" dirty="0" smtClean="0">
                          <a:solidFill>
                            <a:srgbClr val="3366FF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квартал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3</a:t>
                      </a: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</a:t>
                      </a:r>
                      <a:r>
                        <a:rPr lang="ru-RU" sz="1200" dirty="0" err="1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Твор-ческий</a:t>
                      </a:r>
                      <a:r>
                        <a:rPr lang="ru-RU" sz="1200" baseline="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квартал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4569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rgbClr val="008000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4</a:t>
                      </a:r>
                      <a:r>
                        <a:rPr lang="ru-RU" sz="1200" dirty="0" smtClean="0">
                          <a:solidFill>
                            <a:srgbClr val="008000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</a:t>
                      </a:r>
                      <a:r>
                        <a:rPr lang="ru-RU" sz="1200" dirty="0" err="1" smtClean="0">
                          <a:solidFill>
                            <a:srgbClr val="008000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Студе-нческий</a:t>
                      </a:r>
                      <a:r>
                        <a:rPr lang="ru-RU" sz="1200" dirty="0" smtClean="0">
                          <a:solidFill>
                            <a:srgbClr val="008000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квартал</a:t>
                      </a:r>
                      <a:endParaRPr lang="ru-RU" sz="1200" dirty="0" smtClean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4569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rgbClr val="0000FF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5</a:t>
                      </a:r>
                      <a:r>
                        <a:rPr lang="ru-RU" sz="1200" dirty="0" smtClean="0">
                          <a:solidFill>
                            <a:srgbClr val="0000FF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</a:t>
                      </a:r>
                      <a:r>
                        <a:rPr lang="ru-RU" sz="1200" dirty="0" err="1" smtClean="0">
                          <a:solidFill>
                            <a:srgbClr val="0000FF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Препо-даватель-ский</a:t>
                      </a:r>
                      <a:r>
                        <a:rPr lang="ru-RU" sz="1200" baseline="0" dirty="0" smtClean="0">
                          <a:solidFill>
                            <a:srgbClr val="0000FF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квартал</a:t>
                      </a:r>
                      <a:endParaRPr lang="ru-RU" sz="1200" dirty="0" smtClean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4569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ИТОГО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7533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Сколково </a:t>
                      </a:r>
                      <a:r>
                        <a:rPr lang="ru-RU" sz="1200" dirty="0" err="1" smtClean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Лаунж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(Гостиная Сколково)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b="0" i="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10</a:t>
                      </a:r>
                      <a:r>
                        <a:rPr lang="ru-RU" sz="1200" b="0" i="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</a:t>
                      </a:r>
                      <a:r>
                        <a:rPr lang="en-US" sz="1200" b="0" i="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000</a:t>
                      </a:r>
                      <a:r>
                        <a:rPr lang="en-US" sz="1200" i="1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10 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7533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Музей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(выставочный центр)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5</a:t>
                      </a: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</a:t>
                      </a:r>
                      <a:r>
                        <a:rPr lang="en-US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5 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7533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Культурный центр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(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Медиа Центр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)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6 </a:t>
                      </a:r>
                      <a:r>
                        <a:rPr lang="en-US" sz="1200" i="1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000</a:t>
                      </a:r>
                      <a:endParaRPr lang="ru-RU" sz="1200" i="1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6 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7533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Дизайн-центры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5</a:t>
                      </a: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</a:t>
                      </a:r>
                      <a:r>
                        <a:rPr lang="en-US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000 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5 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7533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Общежитие </a:t>
                      </a:r>
                      <a:r>
                        <a:rPr lang="ru-RU" sz="1200" dirty="0" err="1" smtClean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Сколтеха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(с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сервисами)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i="1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20 </a:t>
                      </a:r>
                      <a:r>
                        <a:rPr lang="en-US" sz="1200" i="1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20 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7533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Объекты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обслуживания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15</a:t>
                      </a:r>
                      <a:r>
                        <a:rPr lang="ru-RU" sz="1200" baseline="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15 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7533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Рынок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r>
                        <a:rPr lang="en-US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2</a:t>
                      </a: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</a:t>
                      </a:r>
                      <a:r>
                        <a:rPr lang="en-US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2 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7533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Infotainment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10</a:t>
                      </a: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</a:t>
                      </a:r>
                      <a:r>
                        <a:rPr lang="en-US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000 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10 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7533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Отели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30</a:t>
                      </a: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</a:t>
                      </a:r>
                      <a:r>
                        <a:rPr lang="en-US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000 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30 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7533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Апартаменты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20</a:t>
                      </a: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</a:t>
                      </a:r>
                      <a:r>
                        <a:rPr lang="en-US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000 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i="1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9 </a:t>
                      </a:r>
                      <a:r>
                        <a:rPr lang="en-US" sz="1200" i="1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000</a:t>
                      </a:r>
                      <a:endParaRPr lang="ru-RU" sz="1200" i="1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i="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29</a:t>
                      </a:r>
                      <a:r>
                        <a:rPr lang="ru-RU" sz="1200" i="0" baseline="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000</a:t>
                      </a:r>
                      <a:endParaRPr lang="ru-RU" sz="1200" i="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7533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Розничная торговля и общественное питание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17</a:t>
                      </a: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</a:t>
                      </a:r>
                      <a:r>
                        <a:rPr lang="en-US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000 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3</a:t>
                      </a: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</a:t>
                      </a:r>
                      <a:r>
                        <a:rPr lang="en-US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i="1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1 000</a:t>
                      </a:r>
                      <a:endParaRPr lang="ru-RU" sz="1200" i="1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i="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21 000</a:t>
                      </a:r>
                      <a:endParaRPr lang="ru-RU" sz="1200" i="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7533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Ратуша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i="1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5</a:t>
                      </a:r>
                      <a:r>
                        <a:rPr lang="ru-RU" sz="1200" i="1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</a:t>
                      </a:r>
                      <a:r>
                        <a:rPr lang="en-US" sz="1200" i="1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000</a:t>
                      </a:r>
                      <a:endParaRPr lang="ru-RU" sz="1200" i="1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5 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7533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Спорт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20</a:t>
                      </a: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</a:t>
                      </a:r>
                      <a:r>
                        <a:rPr lang="en-US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000 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20 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7533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Edutainment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(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Skolkovo Club)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i="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i="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5</a:t>
                      </a:r>
                      <a:r>
                        <a:rPr lang="ru-RU" sz="1200" i="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</a:t>
                      </a:r>
                      <a:r>
                        <a:rPr lang="en-US" sz="1200" i="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000</a:t>
                      </a:r>
                      <a:endParaRPr lang="ru-RU" sz="1200" i="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i="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5 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7533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Паркинг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60</a:t>
                      </a: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</a:t>
                      </a:r>
                      <a:r>
                        <a:rPr lang="en-US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60 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7533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ИТОГО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117 000</a:t>
                      </a:r>
                      <a:endParaRPr lang="ru-RU" sz="1200" b="1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16 000</a:t>
                      </a:r>
                      <a:endParaRPr lang="ru-RU" sz="1200" b="1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80 000</a:t>
                      </a:r>
                      <a:endParaRPr lang="ru-RU" sz="1200" b="1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2</a:t>
                      </a:r>
                      <a:r>
                        <a:rPr lang="ru-RU" sz="1200" b="1" baseline="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0 000</a:t>
                      </a:r>
                      <a:endParaRPr lang="ru-RU" sz="1200" b="1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10 000</a:t>
                      </a:r>
                      <a:endParaRPr lang="ru-RU" sz="1200" b="1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243 000</a:t>
                      </a:r>
                      <a:endParaRPr lang="ru-RU" sz="1200" b="1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7533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в т. ч.: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7533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Фонд</a:t>
                      </a:r>
                      <a:r>
                        <a:rPr lang="ru-RU" sz="1200" baseline="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«Сколково»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i="1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11 </a:t>
                      </a:r>
                      <a:r>
                        <a:rPr lang="en-US" sz="1200" i="1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4569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i="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i="1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20</a:t>
                      </a:r>
                      <a:r>
                        <a:rPr lang="ru-RU" sz="1200" i="1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</a:t>
                      </a:r>
                      <a:r>
                        <a:rPr lang="en-US" sz="1200" i="1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4569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1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10</a:t>
                      </a:r>
                      <a:r>
                        <a:rPr lang="ru-RU" sz="1200" i="1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</a:t>
                      </a:r>
                      <a:r>
                        <a:rPr lang="en-US" sz="1200" i="1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4569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i="1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41 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7533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Инвесторы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117 </a:t>
                      </a:r>
                      <a:r>
                        <a:rPr lang="en-US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5 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80 </a:t>
                      </a:r>
                      <a:r>
                        <a:rPr lang="en-US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202 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8" name="Rectangle 7"/>
          <p:cNvSpPr/>
          <p:nvPr/>
        </p:nvSpPr>
        <p:spPr>
          <a:xfrm>
            <a:off x="2359717" y="2624107"/>
            <a:ext cx="397866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>
              <a:spcAft>
                <a:spcPts val="0"/>
              </a:spcAft>
            </a:pPr>
            <a:r>
              <a:rPr lang="en-US" sz="2800" dirty="0">
                <a:solidFill>
                  <a:srgbClr val="FF0000"/>
                </a:solidFill>
                <a:latin typeface="Cambria"/>
                <a:ea typeface="ＭＳ 明朝"/>
                <a:cs typeface="Times New Roman"/>
              </a:rPr>
              <a:t>1</a:t>
            </a:r>
            <a:endParaRPr lang="ru-RU" sz="2800" dirty="0">
              <a:latin typeface="Cambria"/>
              <a:ea typeface="ＭＳ 明朝"/>
              <a:cs typeface="Times New Roman"/>
            </a:endParaRPr>
          </a:p>
        </p:txBody>
      </p:sp>
      <p:sp>
        <p:nvSpPr>
          <p:cNvPr id="9" name="Rectangle 7"/>
          <p:cNvSpPr/>
          <p:nvPr/>
        </p:nvSpPr>
        <p:spPr>
          <a:xfrm>
            <a:off x="3547250" y="2624107"/>
            <a:ext cx="397866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>
              <a:spcAft>
                <a:spcPts val="0"/>
              </a:spcAft>
            </a:pPr>
            <a:r>
              <a:rPr lang="en-US" sz="2800" dirty="0">
                <a:solidFill>
                  <a:srgbClr val="3366FF"/>
                </a:solidFill>
                <a:latin typeface="Cambria"/>
                <a:ea typeface="ＭＳ 明朝"/>
                <a:cs typeface="Times New Roman"/>
              </a:rPr>
              <a:t>2</a:t>
            </a:r>
            <a:endParaRPr lang="ru-RU" sz="2800" dirty="0">
              <a:latin typeface="Cambria"/>
              <a:ea typeface="ＭＳ 明朝"/>
              <a:cs typeface="Times New Roman"/>
            </a:endParaRPr>
          </a:p>
        </p:txBody>
      </p:sp>
      <p:sp>
        <p:nvSpPr>
          <p:cNvPr id="10" name="Rectangle 7"/>
          <p:cNvSpPr/>
          <p:nvPr/>
        </p:nvSpPr>
        <p:spPr>
          <a:xfrm>
            <a:off x="2252840" y="3528560"/>
            <a:ext cx="397866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>
              <a:spcAft>
                <a:spcPts val="0"/>
              </a:spcAft>
            </a:pPr>
            <a:r>
              <a:rPr lang="en-US" sz="2800" dirty="0">
                <a:latin typeface="Cambria"/>
                <a:ea typeface="ＭＳ 明朝"/>
                <a:cs typeface="Times New Roman"/>
              </a:rPr>
              <a:t>3</a:t>
            </a:r>
            <a:endParaRPr lang="ru-RU" sz="2800" dirty="0">
              <a:latin typeface="Cambria"/>
              <a:ea typeface="ＭＳ 明朝"/>
              <a:cs typeface="Times New Roman"/>
            </a:endParaRPr>
          </a:p>
        </p:txBody>
      </p:sp>
      <p:sp>
        <p:nvSpPr>
          <p:cNvPr id="11" name="Rectangle 7"/>
          <p:cNvSpPr/>
          <p:nvPr/>
        </p:nvSpPr>
        <p:spPr>
          <a:xfrm>
            <a:off x="3179117" y="3126039"/>
            <a:ext cx="397866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defTabSz="45692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dirty="0">
                <a:solidFill>
                  <a:srgbClr val="0000FF"/>
                </a:solidFill>
                <a:latin typeface="Cambria"/>
                <a:ea typeface="ＭＳ 明朝"/>
                <a:cs typeface="Times New Roman"/>
              </a:rPr>
              <a:t>5</a:t>
            </a:r>
            <a:endParaRPr lang="ru-RU" sz="2800" dirty="0">
              <a:latin typeface="Cambria"/>
              <a:ea typeface="ＭＳ 明朝"/>
              <a:cs typeface="Times New Roman"/>
            </a:endParaRPr>
          </a:p>
        </p:txBody>
      </p:sp>
      <p:sp>
        <p:nvSpPr>
          <p:cNvPr id="12" name="Rectangle 7"/>
          <p:cNvSpPr/>
          <p:nvPr/>
        </p:nvSpPr>
        <p:spPr>
          <a:xfrm>
            <a:off x="4152892" y="3420158"/>
            <a:ext cx="397866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defTabSz="45692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dirty="0">
                <a:solidFill>
                  <a:srgbClr val="008000"/>
                </a:solidFill>
                <a:latin typeface="Cambria"/>
                <a:ea typeface="ＭＳ 明朝"/>
                <a:cs typeface="Times New Roman"/>
              </a:rPr>
              <a:t>4</a:t>
            </a:r>
            <a:endParaRPr lang="ru-RU" sz="2800" dirty="0">
              <a:latin typeface="Cambria"/>
              <a:ea typeface="ＭＳ 明朝"/>
              <a:cs typeface="Times New Roman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778000" y="8023720"/>
            <a:ext cx="9309100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ru-RU" sz="1800" b="0" dirty="0" smtClean="0">
                <a:latin typeface="Calibri" pitchFamily="34" charset="0"/>
              </a:rPr>
              <a:t>Концепция Центральной зоны согласована на уровне Правительства.</a:t>
            </a:r>
          </a:p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ru-RU" sz="1800" b="0" dirty="0" smtClean="0">
                <a:latin typeface="Calibri" pitchFamily="34" charset="0"/>
              </a:rPr>
              <a:t>Подготовлены эскиз и дизайн-код Центральной зоны.</a:t>
            </a:r>
          </a:p>
        </p:txBody>
      </p:sp>
    </p:spTree>
    <p:extLst>
      <p:ext uri="{BB962C8B-B14F-4D97-AF65-F5344CB8AC3E}">
        <p14:creationId xmlns:p14="http://schemas.microsoft.com/office/powerpoint/2010/main" val="2192419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2576946" y="440606"/>
            <a:ext cx="8277102" cy="649109"/>
          </a:xfrm>
          <a:prstGeom prst="rect">
            <a:avLst/>
          </a:prstGeom>
        </p:spPr>
        <p:txBody>
          <a:bodyPr/>
          <a:lstStyle/>
          <a:p>
            <a:r>
              <a:rPr lang="ru-RU" dirty="0" smtClean="0">
                <a:latin typeface="Calibri" pitchFamily="34" charset="0"/>
                <a:cs typeface="Calibri" pitchFamily="34" charset="0"/>
              </a:rPr>
              <a:t>Генеральный план</a:t>
            </a:r>
            <a:endParaRPr lang="ru-RU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126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789" y="1514118"/>
            <a:ext cx="5876925" cy="7495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4389190"/>
              </p:ext>
            </p:extLst>
          </p:nvPr>
        </p:nvGraphicFramePr>
        <p:xfrm>
          <a:off x="6349341" y="5017969"/>
          <a:ext cx="6052455" cy="3749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63345"/>
                <a:gridCol w="1196370"/>
                <a:gridCol w="1196370"/>
                <a:gridCol w="1196370"/>
              </a:tblGrid>
              <a:tr h="174173">
                <a:tc rowSpan="2">
                  <a:txBody>
                    <a:bodyPr/>
                    <a:lstStyle/>
                    <a:p>
                      <a:pPr algn="ctr"/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Объекты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Программа строительства</a:t>
                      </a:r>
                      <a:r>
                        <a:rPr lang="ru-RU" sz="1200" b="1" kern="1200" baseline="0" dirty="0" smtClean="0">
                          <a:solidFill>
                            <a:schemeClr val="bg1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, кв. м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417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1200" spc="-100" baseline="0" dirty="0" smtClean="0">
                          <a:solidFill>
                            <a:schemeClr val="bg1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Всего,  в  т. ч.:</a:t>
                      </a:r>
                      <a:endParaRPr lang="ru-RU" sz="1200" b="1" kern="1200" spc="-100" baseline="0" dirty="0">
                        <a:solidFill>
                          <a:schemeClr val="bg1"/>
                        </a:solidFill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Фонд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1200" spc="-100" baseline="0" dirty="0" smtClean="0">
                          <a:solidFill>
                            <a:schemeClr val="bg1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Инвесторы</a:t>
                      </a:r>
                      <a:endParaRPr lang="ru-RU" sz="1200" b="1" kern="1200" spc="-100" baseline="0" dirty="0">
                        <a:solidFill>
                          <a:schemeClr val="bg1"/>
                        </a:solidFill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174173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Calibri" pitchFamily="34" charset="0"/>
                        </a:rPr>
                        <a:t>Комплекс «</a:t>
                      </a:r>
                      <a:r>
                        <a:rPr lang="ru-RU" sz="1200" dirty="0" err="1" smtClean="0">
                          <a:latin typeface="Calibri" pitchFamily="34" charset="0"/>
                        </a:rPr>
                        <a:t>Сколтех</a:t>
                      </a:r>
                      <a:r>
                        <a:rPr lang="ru-RU" sz="1200" dirty="0" smtClean="0">
                          <a:latin typeface="Calibri" pitchFamily="34" charset="0"/>
                        </a:rPr>
                        <a:t>»</a:t>
                      </a:r>
                      <a:endParaRPr lang="ru-RU" sz="12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128 000</a:t>
                      </a:r>
                    </a:p>
                  </a:txBody>
                  <a:tcPr marL="9525" marR="9525" marT="9525" marB="0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128 000</a:t>
                      </a:r>
                    </a:p>
                  </a:txBody>
                  <a:tcPr marL="9525" marR="9525" marT="9525" marB="0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525" marR="9525" marT="9525" marB="0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174173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Calibri" pitchFamily="34" charset="0"/>
                        </a:rPr>
                        <a:t>Комплекс «Технопарк»</a:t>
                      </a:r>
                      <a:endParaRPr lang="ru-RU" sz="12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146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00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79 00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67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000</a:t>
                      </a:r>
                    </a:p>
                  </a:txBody>
                  <a:tcPr marL="9525" marR="9525" marT="9525" marB="0"/>
                </a:tc>
              </a:tr>
              <a:tr h="26076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Calibri" pitchFamily="34" charset="0"/>
                        </a:rPr>
                        <a:t>R&amp;D</a:t>
                      </a:r>
                      <a:r>
                        <a:rPr lang="ru-RU" sz="1200" dirty="0" smtClean="0">
                          <a:latin typeface="Calibri" pitchFamily="34" charset="0"/>
                        </a:rPr>
                        <a:t>,</a:t>
                      </a:r>
                      <a:r>
                        <a:rPr lang="en-US" sz="1200" baseline="0" dirty="0" smtClean="0">
                          <a:latin typeface="Calibri" pitchFamily="34" charset="0"/>
                        </a:rPr>
                        <a:t> </a:t>
                      </a:r>
                      <a:r>
                        <a:rPr lang="ru-RU" sz="1200" baseline="0" dirty="0" smtClean="0">
                          <a:latin typeface="Calibri" pitchFamily="34" charset="0"/>
                        </a:rPr>
                        <a:t>офисы</a:t>
                      </a:r>
                      <a:endParaRPr lang="ru-RU" sz="12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511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00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42 00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469 00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525" marR="9525" marT="9525" marB="0"/>
                </a:tc>
              </a:tr>
              <a:tr h="184711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Calibri" pitchFamily="34" charset="0"/>
                        </a:rPr>
                        <a:t>Апартаменты для проживания, гостиницы</a:t>
                      </a:r>
                      <a:endParaRPr lang="ru-RU" sz="12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421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00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76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00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345 00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525" marR="9525" marT="9525" marB="0"/>
                </a:tc>
              </a:tr>
              <a:tr h="184711">
                <a:tc>
                  <a:txBody>
                    <a:bodyPr/>
                    <a:lstStyle/>
                    <a:p>
                      <a:r>
                        <a:rPr lang="ru-RU" sz="1200" baseline="0" dirty="0" smtClean="0">
                          <a:latin typeface="Calibri" pitchFamily="34" charset="0"/>
                        </a:rPr>
                        <a:t>Социальная инфраструктура и </a:t>
                      </a:r>
                      <a:r>
                        <a:rPr lang="ru-RU" sz="1200" baseline="0" smtClean="0">
                          <a:latin typeface="Calibri" pitchFamily="34" charset="0"/>
                        </a:rPr>
                        <a:t>общественные пространства</a:t>
                      </a:r>
                      <a:endParaRPr lang="ru-RU" sz="12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156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00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44 00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112 00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525" marR="9525" marT="9525" marB="0"/>
                </a:tc>
              </a:tr>
              <a:tr h="290289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Calibri" pitchFamily="34" charset="0"/>
                        </a:rPr>
                        <a:t>Инженерная инфраструктура (включая </a:t>
                      </a:r>
                      <a:r>
                        <a:rPr lang="ru-RU" sz="1200" dirty="0" err="1" smtClean="0">
                          <a:latin typeface="Calibri" pitchFamily="34" charset="0"/>
                        </a:rPr>
                        <a:t>инж</a:t>
                      </a:r>
                      <a:r>
                        <a:rPr lang="ru-RU" sz="1200" dirty="0" smtClean="0">
                          <a:latin typeface="Calibri" pitchFamily="34" charset="0"/>
                        </a:rPr>
                        <a:t>.</a:t>
                      </a:r>
                      <a:r>
                        <a:rPr lang="ru-RU" sz="1200" baseline="0" dirty="0" smtClean="0">
                          <a:latin typeface="Calibri" pitchFamily="34" charset="0"/>
                        </a:rPr>
                        <a:t> здания)</a:t>
                      </a:r>
                      <a:endParaRPr lang="ru-RU" sz="12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50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00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20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00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30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000</a:t>
                      </a:r>
                    </a:p>
                  </a:txBody>
                  <a:tcPr marL="9525" marR="9525" marT="9525" marB="0"/>
                </a:tc>
              </a:tr>
              <a:tr h="290289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Calibri" pitchFamily="34" charset="0"/>
                        </a:rPr>
                        <a:t>Транспортная инфраструктура (включая</a:t>
                      </a:r>
                      <a:r>
                        <a:rPr lang="ru-RU" sz="1200" baseline="0" dirty="0" smtClean="0">
                          <a:latin typeface="Calibri" pitchFamily="34" charset="0"/>
                        </a:rPr>
                        <a:t> паркинги)</a:t>
                      </a:r>
                      <a:endParaRPr lang="ru-RU" sz="1200" dirty="0">
                        <a:latin typeface="Calibri" pitchFamily="34" charset="0"/>
                      </a:endParaRPr>
                    </a:p>
                  </a:txBody>
                  <a:tcP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199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000</a:t>
                      </a:r>
                    </a:p>
                  </a:txBody>
                  <a:tcPr marL="9525" marR="9525" marT="9525" marB="0"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525" marR="9525" marT="9525" marB="0"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199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000</a:t>
                      </a:r>
                    </a:p>
                  </a:txBody>
                  <a:tcPr marL="9525" marR="9525" marT="9525" marB="0"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4173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Calibri" pitchFamily="34" charset="0"/>
                        </a:rPr>
                        <a:t>ВСЕГО</a:t>
                      </a:r>
                      <a:endParaRPr lang="ru-RU" sz="1200" dirty="0">
                        <a:latin typeface="Calibri" pitchFamily="34" charset="0"/>
                      </a:endParaRPr>
                    </a:p>
                  </a:txBody>
                  <a:tcP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1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611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000</a:t>
                      </a:r>
                    </a:p>
                  </a:txBody>
                  <a:tcPr marL="9525" marR="9525" marT="9525" marB="0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389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000</a:t>
                      </a:r>
                    </a:p>
                  </a:txBody>
                  <a:tcPr marL="9525" marR="9525" marT="9525" marB="0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1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222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000</a:t>
                      </a:r>
                    </a:p>
                  </a:txBody>
                  <a:tcPr marL="9525" marR="9525" marT="9525" marB="0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4173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Calibri" pitchFamily="34" charset="0"/>
                        </a:rPr>
                        <a:t>в т. ч. в Центральной зоне (сл. 15)</a:t>
                      </a:r>
                      <a:endParaRPr lang="ru-RU" sz="1200" dirty="0">
                        <a:latin typeface="Calibri" pitchFamily="34" charset="0"/>
                      </a:endParaRPr>
                    </a:p>
                  </a:txBody>
                  <a:tcP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243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00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525" marR="9525" marT="9525" marB="0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41 00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525" marR="9525" marT="9525" marB="0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202 00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525" marR="9525" marT="9525" marB="0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6210795" y="1862461"/>
            <a:ext cx="6329548" cy="155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ru-RU" sz="1800" b="0" dirty="0" smtClean="0">
                <a:latin typeface="Calibri" pitchFamily="34" charset="0"/>
              </a:rPr>
              <a:t>5 октября – на совещании у Заместителя Председателя Правительства Российской Федерации дано поручение разработать концепцию застройки центральной зоны.</a:t>
            </a:r>
          </a:p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ru-RU" sz="1800" b="0" dirty="0" smtClean="0">
                <a:latin typeface="Calibri" pitchFamily="34" charset="0"/>
              </a:rPr>
              <a:t>16 ноября – концепция застройки центральной зоны рассмотрена на Градостроительном совете</a:t>
            </a:r>
            <a:r>
              <a:rPr lang="ru-RU" sz="1800" b="0" dirty="0" smtClean="0">
                <a:latin typeface="Calibri" pitchFamily="34" charset="0"/>
              </a:rPr>
              <a:t>.</a:t>
            </a:r>
            <a:endParaRPr lang="ru-RU" sz="1800" b="0" dirty="0" smtClean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2266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1619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743" y="1788791"/>
            <a:ext cx="5409296" cy="71624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2576946" y="440606"/>
            <a:ext cx="8277102" cy="649109"/>
          </a:xfrm>
          <a:prstGeom prst="rect">
            <a:avLst/>
          </a:prstGeom>
        </p:spPr>
        <p:txBody>
          <a:bodyPr/>
          <a:lstStyle/>
          <a:p>
            <a:r>
              <a:rPr lang="ru-RU" dirty="0" smtClean="0">
                <a:latin typeface="Calibri" pitchFamily="34" charset="0"/>
                <a:cs typeface="Calibri" pitchFamily="34" charset="0"/>
              </a:rPr>
              <a:t>Проект планировки и стартовые объекты</a:t>
            </a:r>
            <a:endParaRPr lang="ru-RU" dirty="0">
              <a:latin typeface="Calibri" pitchFamily="34" charset="0"/>
              <a:cs typeface="Calibri" pitchFamily="34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1469193" y="3390858"/>
            <a:ext cx="3995933" cy="4084762"/>
            <a:chOff x="-6201948" y="1038278"/>
            <a:chExt cx="3434517" cy="4084762"/>
          </a:xfrm>
        </p:grpSpPr>
        <p:sp>
          <p:nvSpPr>
            <p:cNvPr id="8" name="Rectangle 7"/>
            <p:cNvSpPr/>
            <p:nvPr/>
          </p:nvSpPr>
          <p:spPr>
            <a:xfrm>
              <a:off x="-5251843" y="2242126"/>
              <a:ext cx="391453" cy="52322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ctr"/>
              <a:r>
                <a:rPr lang="ru-RU" sz="2800" b="1" cap="none" spc="50" dirty="0" smtClean="0">
                  <a:ln w="11430"/>
                  <a:gradFill>
                    <a:gsLst>
                      <a:gs pos="25000">
                        <a:schemeClr val="accent2">
                          <a:satMod val="155000"/>
                        </a:schemeClr>
                      </a:gs>
                      <a:gs pos="100000">
                        <a:schemeClr val="accent2">
                          <a:shade val="45000"/>
                          <a:satMod val="165000"/>
                        </a:schemeClr>
                      </a:gs>
                    </a:gsLst>
                    <a:lin ang="5400000"/>
                  </a:gra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6</a:t>
              </a:r>
              <a:endParaRPr lang="en-US" sz="2800" b="1" cap="none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-6201948" y="4599820"/>
              <a:ext cx="336456" cy="52322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ctr"/>
              <a:r>
                <a:rPr lang="ru-RU" sz="2800" b="1" cap="none" spc="50" dirty="0" smtClean="0">
                  <a:ln w="11430"/>
                  <a:gradFill>
                    <a:gsLst>
                      <a:gs pos="25000">
                        <a:schemeClr val="accent2">
                          <a:satMod val="155000"/>
                        </a:schemeClr>
                      </a:gs>
                      <a:gs pos="100000">
                        <a:schemeClr val="accent2">
                          <a:shade val="45000"/>
                          <a:satMod val="165000"/>
                        </a:schemeClr>
                      </a:gs>
                    </a:gsLst>
                    <a:lin ang="5400000"/>
                  </a:gra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8</a:t>
              </a:r>
              <a:endParaRPr lang="en-US" sz="2800" b="1" cap="none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-4357591" y="2222162"/>
              <a:ext cx="391453" cy="52322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ctr"/>
              <a:r>
                <a:rPr lang="ru-RU" sz="2800" b="1" cap="none" spc="50" dirty="0" smtClean="0">
                  <a:ln w="11430"/>
                  <a:gradFill>
                    <a:gsLst>
                      <a:gs pos="25000">
                        <a:schemeClr val="accent2">
                          <a:satMod val="155000"/>
                        </a:schemeClr>
                      </a:gs>
                      <a:gs pos="100000">
                        <a:schemeClr val="accent2">
                          <a:shade val="45000"/>
                          <a:satMod val="165000"/>
                        </a:schemeClr>
                      </a:gs>
                    </a:gsLst>
                    <a:lin ang="5400000"/>
                  </a:gra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4</a:t>
              </a:r>
              <a:endParaRPr lang="en-US" sz="2800" b="1" cap="none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-5243432" y="2680556"/>
              <a:ext cx="391453" cy="52322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ctr"/>
              <a:r>
                <a:rPr lang="ru-RU" sz="2800" b="1" cap="none" spc="50" dirty="0" smtClean="0">
                  <a:ln w="11430"/>
                  <a:gradFill>
                    <a:gsLst>
                      <a:gs pos="25000">
                        <a:schemeClr val="accent2">
                          <a:satMod val="155000"/>
                        </a:schemeClr>
                      </a:gs>
                      <a:gs pos="100000">
                        <a:schemeClr val="accent2">
                          <a:shade val="45000"/>
                          <a:satMod val="165000"/>
                        </a:schemeClr>
                      </a:gs>
                    </a:gsLst>
                    <a:lin ang="5400000"/>
                  </a:gra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1</a:t>
              </a:r>
              <a:endParaRPr lang="en-US" sz="2800" b="1" cap="none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-4914258" y="2705971"/>
              <a:ext cx="391453" cy="52322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ctr"/>
              <a:r>
                <a:rPr lang="ru-RU" sz="2800" b="1" cap="none" spc="50" dirty="0" smtClean="0">
                  <a:ln w="11430"/>
                  <a:gradFill>
                    <a:gsLst>
                      <a:gs pos="25000">
                        <a:schemeClr val="accent2">
                          <a:satMod val="155000"/>
                        </a:schemeClr>
                      </a:gs>
                      <a:gs pos="100000">
                        <a:schemeClr val="accent2">
                          <a:shade val="45000"/>
                          <a:satMod val="165000"/>
                        </a:schemeClr>
                      </a:gs>
                    </a:gsLst>
                    <a:lin ang="5400000"/>
                  </a:gra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3</a:t>
              </a:r>
              <a:endParaRPr lang="en-US" sz="2800" b="1" cap="none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-3158884" y="1038278"/>
              <a:ext cx="391453" cy="52322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ctr"/>
              <a:r>
                <a:rPr lang="ru-RU" sz="2800" b="1" cap="none" spc="50" dirty="0" smtClean="0">
                  <a:ln w="11430"/>
                  <a:gradFill>
                    <a:gsLst>
                      <a:gs pos="25000">
                        <a:schemeClr val="accent2">
                          <a:satMod val="155000"/>
                        </a:schemeClr>
                      </a:gs>
                      <a:gs pos="100000">
                        <a:schemeClr val="accent2">
                          <a:shade val="45000"/>
                          <a:satMod val="165000"/>
                        </a:schemeClr>
                      </a:gs>
                    </a:gsLst>
                    <a:lin ang="5400000"/>
                  </a:gra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5</a:t>
              </a:r>
              <a:endParaRPr lang="en-US" sz="2800" b="1" cap="none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-3902958" y="1495210"/>
              <a:ext cx="391453" cy="52322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ctr"/>
              <a:r>
                <a:rPr lang="ru-RU" sz="2800" b="1" cap="none" spc="50" dirty="0" smtClean="0">
                  <a:ln w="11430"/>
                  <a:gradFill>
                    <a:gsLst>
                      <a:gs pos="25000">
                        <a:schemeClr val="accent2">
                          <a:satMod val="155000"/>
                        </a:schemeClr>
                      </a:gs>
                      <a:gs pos="100000">
                        <a:schemeClr val="accent2">
                          <a:shade val="45000"/>
                          <a:satMod val="165000"/>
                        </a:schemeClr>
                      </a:gs>
                    </a:gsLst>
                    <a:lin ang="5400000"/>
                  </a:gra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2</a:t>
              </a:r>
              <a:endParaRPr lang="en-US" sz="2800" b="1" cap="none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-3966138" y="2044810"/>
              <a:ext cx="391453" cy="52322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ctr"/>
              <a:r>
                <a:rPr lang="ru-RU" sz="2800" b="1" cap="none" spc="50" dirty="0" smtClean="0">
                  <a:ln w="11430"/>
                  <a:gradFill>
                    <a:gsLst>
                      <a:gs pos="25000">
                        <a:schemeClr val="accent2">
                          <a:satMod val="155000"/>
                        </a:schemeClr>
                      </a:gs>
                      <a:gs pos="100000">
                        <a:schemeClr val="accent2">
                          <a:shade val="45000"/>
                          <a:satMod val="165000"/>
                        </a:schemeClr>
                      </a:gs>
                    </a:gsLst>
                    <a:lin ang="5400000"/>
                  </a:gra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7</a:t>
              </a:r>
              <a:endParaRPr lang="en-US" sz="2800" b="1" cap="none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endParaRPr>
            </a:p>
          </p:txBody>
        </p:sp>
        <p:sp>
          <p:nvSpPr>
            <p:cNvPr id="18" name="Rectangle 15"/>
            <p:cNvSpPr/>
            <p:nvPr/>
          </p:nvSpPr>
          <p:spPr>
            <a:xfrm>
              <a:off x="-4950922" y="4304112"/>
              <a:ext cx="391453" cy="52322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ctr"/>
              <a:r>
                <a:rPr lang="ru-RU" sz="2800" b="1" cap="none" spc="50" dirty="0" smtClean="0">
                  <a:ln w="11430"/>
                  <a:gradFill>
                    <a:gsLst>
                      <a:gs pos="25000">
                        <a:schemeClr val="accent2">
                          <a:satMod val="155000"/>
                        </a:schemeClr>
                      </a:gs>
                      <a:gs pos="100000">
                        <a:schemeClr val="accent2">
                          <a:shade val="45000"/>
                          <a:satMod val="165000"/>
                        </a:schemeClr>
                      </a:gs>
                    </a:gsLst>
                    <a:lin ang="5400000"/>
                  </a:gra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5</a:t>
              </a:r>
              <a:endParaRPr lang="en-US" sz="2800" b="1" cap="none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endParaRPr>
            </a:p>
          </p:txBody>
        </p:sp>
        <p:sp>
          <p:nvSpPr>
            <p:cNvPr id="28" name="Rectangle 7"/>
            <p:cNvSpPr/>
            <p:nvPr/>
          </p:nvSpPr>
          <p:spPr>
            <a:xfrm>
              <a:off x="-4969174" y="1858205"/>
              <a:ext cx="336456" cy="52322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ctr"/>
              <a:r>
                <a:rPr lang="ru-RU" sz="2800" b="1" cap="none" spc="50" dirty="0" smtClean="0">
                  <a:ln w="11430"/>
                  <a:gradFill>
                    <a:gsLst>
                      <a:gs pos="25000">
                        <a:schemeClr val="accent2">
                          <a:satMod val="155000"/>
                        </a:schemeClr>
                      </a:gs>
                      <a:gs pos="100000">
                        <a:schemeClr val="accent2">
                          <a:shade val="45000"/>
                          <a:satMod val="165000"/>
                        </a:schemeClr>
                      </a:gs>
                    </a:gsLst>
                    <a:lin ang="5400000"/>
                  </a:gra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9</a:t>
              </a:r>
              <a:endParaRPr lang="en-US" sz="2800" b="1" cap="none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endParaRPr>
            </a:p>
          </p:txBody>
        </p:sp>
      </p:grp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1882487"/>
              </p:ext>
            </p:extLst>
          </p:nvPr>
        </p:nvGraphicFramePr>
        <p:xfrm>
          <a:off x="6711782" y="4579630"/>
          <a:ext cx="5664529" cy="4526280"/>
        </p:xfrm>
        <a:graphic>
          <a:graphicData uri="http://schemas.openxmlformats.org/drawingml/2006/table">
            <a:tbl>
              <a:tblPr firstRow="1" bandRow="1">
                <a:tableStyleId>{8EC20E35-A176-4012-BC5E-935CFFF8708E}</a:tableStyleId>
              </a:tblPr>
              <a:tblGrid>
                <a:gridCol w="310939"/>
                <a:gridCol w="5353590"/>
              </a:tblGrid>
              <a:tr h="202481">
                <a:tc gridSpan="2">
                  <a:txBody>
                    <a:bodyPr/>
                    <a:lstStyle/>
                    <a:p>
                      <a:pPr algn="ctr" rtl="0" fontAlgn="t">
                        <a:lnSpc>
                          <a:spcPct val="150000"/>
                        </a:lnSpc>
                      </a:pPr>
                      <a:r>
                        <a:rPr lang="en-US" sz="1800" u="none" strike="noStrike" dirty="0">
                          <a:effectLst/>
                          <a:latin typeface="Calibri" pitchFamily="34" charset="0"/>
                          <a:cs typeface="Calibri" pitchFamily="34" charset="0"/>
                        </a:rPr>
                        <a:t> </a:t>
                      </a:r>
                      <a:r>
                        <a:rPr lang="ru-RU" sz="1800" u="none" strike="noStrike" dirty="0" smtClean="0">
                          <a:effectLst/>
                          <a:latin typeface="Calibri" pitchFamily="34" charset="0"/>
                          <a:cs typeface="Calibri" pitchFamily="34" charset="0"/>
                        </a:rPr>
                        <a:t>Стартовые</a:t>
                      </a:r>
                      <a:r>
                        <a:rPr lang="ru-RU" sz="1800" u="none" strike="noStrike" baseline="0" dirty="0" smtClean="0">
                          <a:effectLst/>
                          <a:latin typeface="Calibri" pitchFamily="34" charset="0"/>
                          <a:cs typeface="Calibri" pitchFamily="34" charset="0"/>
                        </a:rPr>
                        <a:t> объекты</a:t>
                      </a:r>
                      <a:endParaRPr lang="ru-RU" sz="1800" b="1" i="0" u="none" strike="noStrike" dirty="0"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pPr algn="l" rtl="0" fontAlgn="t"/>
                      <a:endParaRPr lang="ru-RU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</a:tr>
              <a:tr h="202481">
                <a:tc>
                  <a:txBody>
                    <a:bodyPr/>
                    <a:lstStyle/>
                    <a:p>
                      <a:pPr algn="ctr" rtl="0" fontAlgn="t">
                        <a:lnSpc>
                          <a:spcPct val="150000"/>
                        </a:lnSpc>
                      </a:pP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1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indent="0" algn="l" defTabSz="1221692" rtl="0" eaLnBrk="1" fontAlgn="ctr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Технопарк</a:t>
                      </a:r>
                      <a:endParaRPr lang="ru-RU" sz="1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171450" marR="0" marT="0" marB="0" anchor="ctr"/>
                </a:tc>
              </a:tr>
              <a:tr h="202481">
                <a:tc>
                  <a:txBody>
                    <a:bodyPr/>
                    <a:lstStyle/>
                    <a:p>
                      <a:pPr algn="ctr" rtl="0" fontAlgn="t">
                        <a:lnSpc>
                          <a:spcPct val="150000"/>
                        </a:lnSpc>
                      </a:pP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2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rtl="0" fontAlgn="ctr">
                        <a:lnSpc>
                          <a:spcPct val="150000"/>
                        </a:lnSpc>
                      </a:pPr>
                      <a:r>
                        <a:rPr lang="ru-RU" sz="18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СколТех</a:t>
                      </a:r>
                      <a:endParaRPr lang="ru-RU" sz="1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171450" marR="0" marT="0" marB="0" anchor="ctr"/>
                </a:tc>
              </a:tr>
              <a:tr h="202481">
                <a:tc>
                  <a:txBody>
                    <a:bodyPr/>
                    <a:lstStyle/>
                    <a:p>
                      <a:pPr algn="ctr" rtl="0" fontAlgn="t">
                        <a:lnSpc>
                          <a:spcPct val="150000"/>
                        </a:lnSpc>
                      </a:pP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3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indent="0" algn="l" defTabSz="1221692" rtl="0" eaLnBrk="1" fontAlgn="ctr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Кварталы </a:t>
                      </a:r>
                      <a:r>
                        <a:rPr lang="ru-RU" sz="18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апарт</a:t>
                      </a:r>
                      <a:r>
                        <a:rPr lang="ru-RU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-отелей</a:t>
                      </a:r>
                      <a:endParaRPr lang="ru-RU" sz="1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171450" marR="0" marT="0" marB="0" anchor="ctr"/>
                </a:tc>
              </a:tr>
              <a:tr h="202481">
                <a:tc>
                  <a:txBody>
                    <a:bodyPr/>
                    <a:lstStyle/>
                    <a:p>
                      <a:pPr algn="ctr" rtl="0" fontAlgn="t">
                        <a:lnSpc>
                          <a:spcPct val="150000"/>
                        </a:lnSpc>
                      </a:pP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4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indent="0" algn="l" defTabSz="1221692" rtl="0" eaLnBrk="1" fontAlgn="ctr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Здание</a:t>
                      </a:r>
                      <a:r>
                        <a:rPr lang="ru-RU" sz="18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 центра городского развития ИЦ Сколково</a:t>
                      </a:r>
                      <a:endParaRPr lang="ru-RU" sz="1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171450" marR="0" marT="0" marB="0" anchor="ctr"/>
                </a:tc>
              </a:tr>
              <a:tr h="404963">
                <a:tc>
                  <a:txBody>
                    <a:bodyPr/>
                    <a:lstStyle/>
                    <a:p>
                      <a:pPr algn="ctr" rtl="0" fontAlgn="t">
                        <a:lnSpc>
                          <a:spcPct val="150000"/>
                        </a:lnSpc>
                      </a:pP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5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indent="0" algn="l" defTabSz="1221692" rtl="0" eaLnBrk="1" fontAlgn="ctr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Системы инженерно-технического обеспечения (инженерные сети, дороги)</a:t>
                      </a:r>
                      <a:endParaRPr lang="ru-RU" sz="1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171450" marR="0" marT="0" marB="0" anchor="ctr"/>
                </a:tc>
              </a:tr>
              <a:tr h="202481">
                <a:tc>
                  <a:txBody>
                    <a:bodyPr/>
                    <a:lstStyle/>
                    <a:p>
                      <a:pPr algn="ctr" rtl="0" fontAlgn="t">
                        <a:lnSpc>
                          <a:spcPct val="150000"/>
                        </a:lnSpc>
                      </a:pP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6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lvl="1" indent="0" algn="l" rtl="0" fontAlgn="ctr">
                        <a:lnSpc>
                          <a:spcPct val="150000"/>
                        </a:lnSpc>
                      </a:pPr>
                      <a:r>
                        <a:rPr lang="ru-RU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Офисный центр «Галерея»</a:t>
                      </a:r>
                      <a:endParaRPr lang="ru-RU" sz="1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171450" marR="0" marT="0" marB="0" anchor="ctr"/>
                </a:tc>
              </a:tr>
              <a:tr h="202481">
                <a:tc>
                  <a:txBody>
                    <a:bodyPr/>
                    <a:lstStyle/>
                    <a:p>
                      <a:pPr algn="ctr" rtl="0" fontAlgn="t">
                        <a:lnSpc>
                          <a:spcPct val="150000"/>
                        </a:lnSpc>
                      </a:pP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7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indent="0" algn="l" defTabSz="1221692" rtl="0" eaLnBrk="1" fontAlgn="ctr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Деловой центр «Сколково»</a:t>
                      </a:r>
                    </a:p>
                  </a:txBody>
                  <a:tcPr marL="171450" marR="0" marT="0" marB="0" anchor="ctr"/>
                </a:tc>
              </a:tr>
              <a:tr h="202481">
                <a:tc>
                  <a:txBody>
                    <a:bodyPr/>
                    <a:lstStyle/>
                    <a:p>
                      <a:pPr algn="ctr" rtl="0" fontAlgn="t">
                        <a:lnSpc>
                          <a:spcPct val="150000"/>
                        </a:lnSpc>
                      </a:pPr>
                      <a:r>
                        <a:rPr lang="ru-RU" sz="18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8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rtl="0" fontAlgn="ctr">
                        <a:lnSpc>
                          <a:spcPct val="150000"/>
                        </a:lnSpc>
                      </a:pPr>
                      <a:r>
                        <a:rPr lang="ru-RU" sz="1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Ренова</a:t>
                      </a: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r>
                        <a:rPr lang="ru-RU" sz="1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Лаб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171450" marR="0" marT="0" marB="0" anchor="ctr"/>
                </a:tc>
              </a:tr>
              <a:tr h="202481">
                <a:tc>
                  <a:txBody>
                    <a:bodyPr/>
                    <a:lstStyle/>
                    <a:p>
                      <a:pPr algn="ctr" rtl="0" fontAlgn="t">
                        <a:lnSpc>
                          <a:spcPct val="150000"/>
                        </a:lnSpc>
                      </a:pP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9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rtl="0" fontAlgn="ctr">
                        <a:lnSpc>
                          <a:spcPct val="150000"/>
                        </a:lnSpc>
                      </a:pP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Центральная</a:t>
                      </a:r>
                      <a:r>
                        <a:rPr lang="ru-RU" sz="1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 зона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171450" marR="0" marT="0" marB="0" anchor="ctr"/>
                </a:tc>
              </a:tr>
            </a:tbl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6371771" y="1681723"/>
            <a:ext cx="6168572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ru-RU" sz="1800" b="0" dirty="0" smtClean="0">
                <a:latin typeface="Calibri" pitchFamily="34" charset="0"/>
              </a:rPr>
              <a:t>Подготовлен откорректированный </a:t>
            </a:r>
            <a:r>
              <a:rPr lang="ru-RU" sz="1800" b="0" dirty="0" smtClean="0">
                <a:latin typeface="Calibri" pitchFamily="34" charset="0"/>
              </a:rPr>
              <a:t>проект планировки инновационного центра.</a:t>
            </a:r>
          </a:p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ru-RU" sz="1800" b="0" dirty="0" smtClean="0">
                <a:latin typeface="Calibri" pitchFamily="34" charset="0"/>
              </a:rPr>
              <a:t>Определены стартовые объекты инновационного центра, ведется проектирование и подготовительные работы.</a:t>
            </a:r>
          </a:p>
        </p:txBody>
      </p:sp>
    </p:spTree>
    <p:extLst>
      <p:ext uri="{BB962C8B-B14F-4D97-AF65-F5344CB8AC3E}">
        <p14:creationId xmlns:p14="http://schemas.microsoft.com/office/powerpoint/2010/main" val="396641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 txBox="1">
            <a:spLocks/>
          </p:cNvSpPr>
          <p:nvPr/>
        </p:nvSpPr>
        <p:spPr>
          <a:xfrm>
            <a:off x="1255539" y="843147"/>
            <a:ext cx="11422966" cy="1005369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Book Antiqu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Book Antiqu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Book Antiqu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Book Antiqua" pitchFamily="18" charset="0"/>
              </a:defRPr>
            </a:lvl5pPr>
            <a:lvl6pPr marL="610845"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Book Antiqua" pitchFamily="18" charset="0"/>
              </a:defRPr>
            </a:lvl6pPr>
            <a:lvl7pPr marL="1221692"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Book Antiqua" pitchFamily="18" charset="0"/>
              </a:defRPr>
            </a:lvl7pPr>
            <a:lvl8pPr marL="1832539"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Book Antiqua" pitchFamily="18" charset="0"/>
              </a:defRPr>
            </a:lvl8pPr>
            <a:lvl9pPr marL="2443384"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Book Antiqua" pitchFamily="18" charset="0"/>
              </a:defRPr>
            </a:lvl9pPr>
          </a:lstStyle>
          <a:p>
            <a:r>
              <a:rPr lang="ru-RU" dirty="0">
                <a:latin typeface="Calibri" pitchFamily="34" charset="0"/>
                <a:cs typeface="Calibri" pitchFamily="34" charset="0"/>
              </a:rPr>
              <a:t>1</a:t>
            </a:r>
            <a:r>
              <a:rPr lang="ru-RU" dirty="0" smtClean="0">
                <a:latin typeface="Calibri" pitchFamily="34" charset="0"/>
                <a:cs typeface="Calibri" pitchFamily="34" charset="0"/>
              </a:rPr>
              <a:t>. Технопарк</a:t>
            </a:r>
            <a:endParaRPr lang="ru-RU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116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8000" y="1682263"/>
            <a:ext cx="9309100" cy="585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1778000" y="7688823"/>
            <a:ext cx="9309100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ru-RU" sz="1800" b="0" dirty="0" smtClean="0">
                <a:latin typeface="Calibri" pitchFamily="34" charset="0"/>
              </a:rPr>
              <a:t>Проектная документация Технопарка проходит экспертизу.</a:t>
            </a:r>
          </a:p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ru-RU" sz="1800" b="0" dirty="0" smtClean="0">
                <a:latin typeface="Calibri" pitchFamily="34" charset="0"/>
              </a:rPr>
              <a:t>Выбран подрядчик на подготовительные работы.</a:t>
            </a:r>
          </a:p>
        </p:txBody>
      </p:sp>
    </p:spTree>
    <p:extLst>
      <p:ext uri="{BB962C8B-B14F-4D97-AF65-F5344CB8AC3E}">
        <p14:creationId xmlns:p14="http://schemas.microsoft.com/office/powerpoint/2010/main" val="4095859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255540" y="708507"/>
            <a:ext cx="11422966" cy="1211262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latin typeface="Calibri" pitchFamily="34" charset="0"/>
                <a:cs typeface="Calibri" pitchFamily="34" charset="0"/>
              </a:rPr>
              <a:t>2</a:t>
            </a:r>
            <a:r>
              <a:rPr lang="ru-RU" dirty="0" smtClean="0">
                <a:latin typeface="Calibri" pitchFamily="34" charset="0"/>
                <a:cs typeface="Calibri" pitchFamily="34" charset="0"/>
              </a:rPr>
              <a:t>. </a:t>
            </a:r>
            <a:r>
              <a:rPr lang="ru-RU" dirty="0" err="1" smtClean="0">
                <a:latin typeface="Calibri" pitchFamily="34" charset="0"/>
                <a:cs typeface="Calibri" pitchFamily="34" charset="0"/>
              </a:rPr>
              <a:t>Сколтех</a:t>
            </a:r>
            <a:r>
              <a:rPr lang="ru-RU" dirty="0" smtClean="0">
                <a:latin typeface="Calibri" pitchFamily="34" charset="0"/>
                <a:cs typeface="Calibri" pitchFamily="34" charset="0"/>
              </a:rPr>
              <a:t> (</a:t>
            </a:r>
            <a:r>
              <a:rPr lang="ru-RU" dirty="0" err="1" smtClean="0">
                <a:latin typeface="Calibri" pitchFamily="34" charset="0"/>
                <a:cs typeface="Calibri" pitchFamily="34" charset="0"/>
              </a:rPr>
              <a:t>Сколковский</a:t>
            </a:r>
            <a:r>
              <a:rPr lang="ru-RU" dirty="0" smtClean="0">
                <a:latin typeface="Calibri" pitchFamily="34" charset="0"/>
                <a:cs typeface="Calibri" pitchFamily="34" charset="0"/>
              </a:rPr>
              <a:t> институт науки и технологий)</a:t>
            </a:r>
            <a:endParaRPr lang="ru-RU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4" name="Picture 3" descr="C:\Users\aantonov\Desktop\Безымянный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5224" y="1792769"/>
            <a:ext cx="9873683" cy="46842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1778000" y="7053823"/>
            <a:ext cx="9309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ru-RU" sz="1800" b="0" dirty="0" smtClean="0">
                <a:latin typeface="Calibri" pitchFamily="34" charset="0"/>
              </a:rPr>
              <a:t>Проектная документация находится в разработке.</a:t>
            </a:r>
          </a:p>
        </p:txBody>
      </p:sp>
    </p:spTree>
    <p:extLst>
      <p:ext uri="{BB962C8B-B14F-4D97-AF65-F5344CB8AC3E}">
        <p14:creationId xmlns:p14="http://schemas.microsoft.com/office/powerpoint/2010/main" val="1539364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 txBox="1">
            <a:spLocks/>
          </p:cNvSpPr>
          <p:nvPr/>
        </p:nvSpPr>
        <p:spPr>
          <a:xfrm>
            <a:off x="1255540" y="838200"/>
            <a:ext cx="11422966" cy="873914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Book Antiqu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Book Antiqu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Book Antiqu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Book Antiqua" pitchFamily="18" charset="0"/>
              </a:defRPr>
            </a:lvl5pPr>
            <a:lvl6pPr marL="610845"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Book Antiqua" pitchFamily="18" charset="0"/>
              </a:defRPr>
            </a:lvl6pPr>
            <a:lvl7pPr marL="1221692"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Book Antiqua" pitchFamily="18" charset="0"/>
              </a:defRPr>
            </a:lvl7pPr>
            <a:lvl8pPr marL="1832539"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Book Antiqua" pitchFamily="18" charset="0"/>
              </a:defRPr>
            </a:lvl8pPr>
            <a:lvl9pPr marL="2443384"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Book Antiqua" pitchFamily="18" charset="0"/>
              </a:defRPr>
            </a:lvl9pPr>
          </a:lstStyle>
          <a:p>
            <a:r>
              <a:rPr lang="ru-RU" dirty="0" smtClean="0">
                <a:latin typeface="Calibri" pitchFamily="34" charset="0"/>
                <a:cs typeface="Calibri" pitchFamily="34" charset="0"/>
              </a:rPr>
              <a:t>3. </a:t>
            </a:r>
            <a:r>
              <a:rPr lang="ru-RU" dirty="0" err="1" smtClean="0">
                <a:latin typeface="Calibri" pitchFamily="34" charset="0"/>
                <a:cs typeface="Calibri" pitchFamily="34" charset="0"/>
              </a:rPr>
              <a:t>Апарт</a:t>
            </a:r>
            <a:r>
              <a:rPr lang="ru-RU" dirty="0" smtClean="0">
                <a:latin typeface="Calibri" pitchFamily="34" charset="0"/>
                <a:cs typeface="Calibri" pitchFamily="34" charset="0"/>
              </a:rPr>
              <a:t>-отели и коттеджи</a:t>
            </a:r>
            <a:endParaRPr lang="ru-RU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116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7019" y="1438982"/>
            <a:ext cx="7743482" cy="59237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1824210" y="7752323"/>
            <a:ext cx="9309100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ru-RU" sz="1800" b="0" dirty="0" smtClean="0">
                <a:latin typeface="Calibri" pitchFamily="34" charset="0"/>
              </a:rPr>
              <a:t>Завершается разработка проектной документации.</a:t>
            </a:r>
          </a:p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ru-RU" sz="1800" b="0" dirty="0" smtClean="0">
                <a:latin typeface="Calibri" pitchFamily="34" charset="0"/>
              </a:rPr>
              <a:t>Выбран подрядчик на подготовительные работы.</a:t>
            </a:r>
          </a:p>
        </p:txBody>
      </p:sp>
    </p:spTree>
    <p:extLst>
      <p:ext uri="{BB962C8B-B14F-4D97-AF65-F5344CB8AC3E}">
        <p14:creationId xmlns:p14="http://schemas.microsoft.com/office/powerpoint/2010/main" val="3916005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255540" y="724394"/>
            <a:ext cx="11422966" cy="560209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latin typeface="Calibri" pitchFamily="34" charset="0"/>
                <a:cs typeface="Calibri" pitchFamily="34" charset="0"/>
              </a:rPr>
              <a:t>4</a:t>
            </a:r>
            <a:r>
              <a:rPr lang="ru-RU" dirty="0" smtClean="0">
                <a:latin typeface="Calibri" pitchFamily="34" charset="0"/>
                <a:cs typeface="Calibri" pitchFamily="34" charset="0"/>
              </a:rPr>
              <a:t>. Гиперкуб</a:t>
            </a:r>
            <a:endParaRPr lang="ru-RU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12644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215" y="1662546"/>
            <a:ext cx="8819022" cy="58576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646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7730" y="4672980"/>
            <a:ext cx="4270776" cy="28471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161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7730" y="1662547"/>
            <a:ext cx="4270776" cy="2847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79641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3512457"/>
            <a:ext cx="128016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800" dirty="0" smtClean="0">
                <a:latin typeface="Calibri" pitchFamily="34" charset="0"/>
                <a:cs typeface="Calibri" pitchFamily="34" charset="0"/>
              </a:rPr>
              <a:t>5. СИСТЕМЫ ИНЖЕНЕРНО-ТЕХНИЧЕСКОГО ОБЕСПЕЧЕНИЯ (СЕТИ, ДОРОГИ)</a:t>
            </a:r>
            <a:endParaRPr lang="ru-RU" sz="4800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8681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231900" y="724394"/>
            <a:ext cx="10989405" cy="649109"/>
          </a:xfrm>
          <a:prstGeom prst="rect">
            <a:avLst/>
          </a:prstGeom>
        </p:spPr>
        <p:txBody>
          <a:bodyPr/>
          <a:lstStyle/>
          <a:p>
            <a:r>
              <a:rPr lang="ru-RU" dirty="0" smtClean="0">
                <a:latin typeface="Calibri" pitchFamily="34" charset="0"/>
                <a:cs typeface="Calibri" pitchFamily="34" charset="0"/>
              </a:rPr>
              <a:t>Внешние объекты инженерной инфраструктуры</a:t>
            </a:r>
            <a:endParaRPr lang="ru-RU" dirty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4833862"/>
              </p:ext>
            </p:extLst>
          </p:nvPr>
        </p:nvGraphicFramePr>
        <p:xfrm>
          <a:off x="952500" y="6148272"/>
          <a:ext cx="10883899" cy="2805227"/>
        </p:xfrm>
        <a:graphic>
          <a:graphicData uri="http://schemas.openxmlformats.org/drawingml/2006/table">
            <a:tbl>
              <a:tblPr firstRow="1" bandRow="1">
                <a:tableStyleId>{8EC20E35-A176-4012-BC5E-935CFFF8708E}</a:tableStyleId>
              </a:tblPr>
              <a:tblGrid>
                <a:gridCol w="419004"/>
                <a:gridCol w="5873045"/>
                <a:gridCol w="2989820"/>
                <a:gridCol w="1602030"/>
              </a:tblGrid>
              <a:tr h="719956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600" u="none" strike="noStrike" dirty="0">
                          <a:effectLst/>
                        </a:rPr>
                        <a:t> 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1400" u="none" strike="noStrike" dirty="0">
                          <a:effectLst/>
                        </a:rPr>
                        <a:t>ВНЕШНИЕ ОБЪЕКТЫ И МЕРОПРИЯТИЯ, ОБЕСПЕЧИВАЮЩИЕ ФУНКЦИОНИРОВАНИЕ ИЦ СКОЛКОВО</a:t>
                      </a:r>
                      <a:endParaRPr lang="ru-RU" sz="14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u="none" strike="noStrike" dirty="0">
                          <a:effectLst/>
                        </a:rPr>
                        <a:t>Ответственный исполнитель</a:t>
                      </a:r>
                      <a:endParaRPr lang="ru-RU" sz="14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smtClean="0">
                          <a:effectLst/>
                        </a:rPr>
                        <a:t>Сроки строительства</a:t>
                      </a:r>
                      <a:endParaRPr lang="ru-RU" sz="14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</a:tr>
              <a:tr h="274269">
                <a:tc>
                  <a:txBody>
                    <a:bodyPr/>
                    <a:lstStyle/>
                    <a:p>
                      <a:pPr algn="l" rtl="0" fontAlgn="t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>
                          <a:effectLst/>
                        </a:rPr>
                        <a:t>Инженерная инфраструктура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</a:tr>
              <a:tr h="494098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600" u="none" strike="noStrike" dirty="0" smtClean="0">
                          <a:effectLst/>
                        </a:rPr>
                        <a:t>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>
                          <a:effectLst/>
                        </a:rPr>
                        <a:t>Обеспечение ИЦ «Сколково» сетями водоснабжения (18 730 </a:t>
                      </a:r>
                      <a:r>
                        <a:rPr lang="ru-RU" sz="1200" u="none" strike="noStrike" dirty="0" err="1">
                          <a:effectLst/>
                        </a:rPr>
                        <a:t>куб.м</a:t>
                      </a:r>
                      <a:r>
                        <a:rPr lang="ru-RU" sz="1200" u="none" strike="noStrike" dirty="0">
                          <a:effectLst/>
                        </a:rPr>
                        <a:t>./</a:t>
                      </a:r>
                      <a:r>
                        <a:rPr lang="ru-RU" sz="1200" u="none" strike="noStrike" dirty="0" err="1">
                          <a:effectLst/>
                        </a:rPr>
                        <a:t>сут</a:t>
                      </a:r>
                      <a:r>
                        <a:rPr lang="ru-RU" sz="1200" u="none" strike="noStrike" dirty="0">
                          <a:effectLst/>
                        </a:rPr>
                        <a:t>)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7145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Департамент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троительства г. Москвы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3-2014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</a:tr>
              <a:tr h="494098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600" u="none" strike="noStrike" dirty="0" smtClean="0">
                          <a:effectLst/>
                        </a:rPr>
                        <a:t>2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>
                          <a:effectLst/>
                        </a:rPr>
                        <a:t>Обеспечение ИЦ «Сколково» сетями теплоснабжения (205 ГКал/ч.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7145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Департамент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троительства г. Москвы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3-2014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</a:tr>
              <a:tr h="411403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600" u="none" strike="noStrike" dirty="0" smtClean="0">
                          <a:effectLst/>
                        </a:rPr>
                        <a:t>3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>
                          <a:effectLst/>
                        </a:rPr>
                        <a:t>Обеспечение ИЦ «Сколково» сетями электроснабжения (126 МВА/107МВт</a:t>
                      </a:r>
                      <a:r>
                        <a:rPr lang="ru-RU" sz="1200" u="none" strike="noStrike" dirty="0" smtClean="0">
                          <a:effectLst/>
                        </a:rPr>
                        <a:t>)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7145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ОАО «ФСК ЕЭС»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200" b="0" u="none" strike="noStrike" dirty="0" smtClean="0">
                          <a:effectLst/>
                        </a:rPr>
                        <a:t>201</a:t>
                      </a:r>
                      <a:r>
                        <a:rPr lang="ru-RU" sz="1200" b="0" u="none" strike="noStrike" dirty="0" smtClean="0">
                          <a:effectLst/>
                        </a:rPr>
                        <a:t>4-2015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</a:tr>
              <a:tr h="411403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600" u="none" strike="noStrike" dirty="0" smtClean="0">
                          <a:effectLst/>
                        </a:rPr>
                        <a:t>4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>
                          <a:effectLst/>
                        </a:rPr>
                        <a:t>Обеспечение ИЦ «Сколково» внешними телекоммуникационными сетями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7145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конкурс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3-2014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96"/>
          <a:stretch/>
        </p:blipFill>
        <p:spPr bwMode="auto">
          <a:xfrm>
            <a:off x="2018804" y="1365660"/>
            <a:ext cx="6970817" cy="4548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1483" y="2463409"/>
            <a:ext cx="196713" cy="1568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extBox 1"/>
          <p:cNvSpPr txBox="1">
            <a:spLocks noChangeArrowheads="1"/>
          </p:cNvSpPr>
          <p:nvPr/>
        </p:nvSpPr>
        <p:spPr bwMode="auto">
          <a:xfrm>
            <a:off x="5085853" y="2317732"/>
            <a:ext cx="766531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9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sz="600" dirty="0">
                <a:solidFill>
                  <a:srgbClr val="35BA62"/>
                </a:solidFill>
              </a:rPr>
              <a:t>РТС «</a:t>
            </a:r>
            <a:r>
              <a:rPr lang="ru-RU" sz="600" dirty="0" err="1">
                <a:solidFill>
                  <a:srgbClr val="35BA62"/>
                </a:solidFill>
              </a:rPr>
              <a:t>Кунцево</a:t>
            </a:r>
            <a:r>
              <a:rPr lang="ru-RU" sz="600" dirty="0">
                <a:solidFill>
                  <a:srgbClr val="35BA62"/>
                </a:solidFill>
              </a:rPr>
              <a:t>»</a:t>
            </a:r>
          </a:p>
        </p:txBody>
      </p:sp>
      <p:sp>
        <p:nvSpPr>
          <p:cNvPr id="11" name="Полилиния 10"/>
          <p:cNvSpPr/>
          <p:nvPr/>
        </p:nvSpPr>
        <p:spPr>
          <a:xfrm>
            <a:off x="4286998" y="2534025"/>
            <a:ext cx="1056520" cy="267789"/>
          </a:xfrm>
          <a:custGeom>
            <a:avLst/>
            <a:gdLst>
              <a:gd name="connsiteX0" fmla="*/ 1815929 w 1815929"/>
              <a:gd name="connsiteY0" fmla="*/ 185752 h 463742"/>
              <a:gd name="connsiteX1" fmla="*/ 1654564 w 1815929"/>
              <a:gd name="connsiteY1" fmla="*/ 333670 h 463742"/>
              <a:gd name="connsiteX2" fmla="*/ 1533540 w 1815929"/>
              <a:gd name="connsiteY2" fmla="*/ 427800 h 463742"/>
              <a:gd name="connsiteX3" fmla="*/ 1466305 w 1815929"/>
              <a:gd name="connsiteY3" fmla="*/ 454694 h 463742"/>
              <a:gd name="connsiteX4" fmla="*/ 1304940 w 1815929"/>
              <a:gd name="connsiteY4" fmla="*/ 279882 h 463742"/>
              <a:gd name="connsiteX5" fmla="*/ 1143576 w 1815929"/>
              <a:gd name="connsiteY5" fmla="*/ 91623 h 463742"/>
              <a:gd name="connsiteX6" fmla="*/ 1049446 w 1815929"/>
              <a:gd name="connsiteY6" fmla="*/ 10941 h 463742"/>
              <a:gd name="connsiteX7" fmla="*/ 941870 w 1815929"/>
              <a:gd name="connsiteY7" fmla="*/ 10941 h 463742"/>
              <a:gd name="connsiteX8" fmla="*/ 807399 w 1815929"/>
              <a:gd name="connsiteY8" fmla="*/ 105070 h 463742"/>
              <a:gd name="connsiteX9" fmla="*/ 578799 w 1815929"/>
              <a:gd name="connsiteY9" fmla="*/ 131964 h 463742"/>
              <a:gd name="connsiteX10" fmla="*/ 471223 w 1815929"/>
              <a:gd name="connsiteY10" fmla="*/ 185752 h 463742"/>
              <a:gd name="connsiteX11" fmla="*/ 350199 w 1815929"/>
              <a:gd name="connsiteY11" fmla="*/ 145411 h 463742"/>
              <a:gd name="connsiteX12" fmla="*/ 242623 w 1815929"/>
              <a:gd name="connsiteY12" fmla="*/ 145411 h 463742"/>
              <a:gd name="connsiteX13" fmla="*/ 67811 w 1815929"/>
              <a:gd name="connsiteY13" fmla="*/ 172305 h 463742"/>
              <a:gd name="connsiteX14" fmla="*/ 576 w 1815929"/>
              <a:gd name="connsiteY14" fmla="*/ 185752 h 463742"/>
              <a:gd name="connsiteX15" fmla="*/ 40917 w 1815929"/>
              <a:gd name="connsiteY15" fmla="*/ 172305 h 4637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815929" h="463742">
                <a:moveTo>
                  <a:pt x="1815929" y="185752"/>
                </a:moveTo>
                <a:cubicBezTo>
                  <a:pt x="1758779" y="239540"/>
                  <a:pt x="1701629" y="293329"/>
                  <a:pt x="1654564" y="333670"/>
                </a:cubicBezTo>
                <a:cubicBezTo>
                  <a:pt x="1607499" y="374011"/>
                  <a:pt x="1564916" y="407629"/>
                  <a:pt x="1533540" y="427800"/>
                </a:cubicBezTo>
                <a:cubicBezTo>
                  <a:pt x="1502164" y="447971"/>
                  <a:pt x="1504405" y="479347"/>
                  <a:pt x="1466305" y="454694"/>
                </a:cubicBezTo>
                <a:cubicBezTo>
                  <a:pt x="1428205" y="430041"/>
                  <a:pt x="1358728" y="340394"/>
                  <a:pt x="1304940" y="279882"/>
                </a:cubicBezTo>
                <a:cubicBezTo>
                  <a:pt x="1251152" y="219370"/>
                  <a:pt x="1186158" y="136446"/>
                  <a:pt x="1143576" y="91623"/>
                </a:cubicBezTo>
                <a:cubicBezTo>
                  <a:pt x="1100994" y="46800"/>
                  <a:pt x="1083064" y="24388"/>
                  <a:pt x="1049446" y="10941"/>
                </a:cubicBezTo>
                <a:cubicBezTo>
                  <a:pt x="1015828" y="-2506"/>
                  <a:pt x="982211" y="-4747"/>
                  <a:pt x="941870" y="10941"/>
                </a:cubicBezTo>
                <a:cubicBezTo>
                  <a:pt x="901529" y="26629"/>
                  <a:pt x="867911" y="84899"/>
                  <a:pt x="807399" y="105070"/>
                </a:cubicBezTo>
                <a:cubicBezTo>
                  <a:pt x="746887" y="125240"/>
                  <a:pt x="634828" y="118517"/>
                  <a:pt x="578799" y="131964"/>
                </a:cubicBezTo>
                <a:cubicBezTo>
                  <a:pt x="522770" y="145411"/>
                  <a:pt x="509323" y="183511"/>
                  <a:pt x="471223" y="185752"/>
                </a:cubicBezTo>
                <a:cubicBezTo>
                  <a:pt x="433123" y="187993"/>
                  <a:pt x="388299" y="152134"/>
                  <a:pt x="350199" y="145411"/>
                </a:cubicBezTo>
                <a:cubicBezTo>
                  <a:pt x="312099" y="138687"/>
                  <a:pt x="289688" y="140929"/>
                  <a:pt x="242623" y="145411"/>
                </a:cubicBezTo>
                <a:cubicBezTo>
                  <a:pt x="195558" y="149893"/>
                  <a:pt x="108152" y="165582"/>
                  <a:pt x="67811" y="172305"/>
                </a:cubicBezTo>
                <a:cubicBezTo>
                  <a:pt x="27470" y="179028"/>
                  <a:pt x="5058" y="185752"/>
                  <a:pt x="576" y="185752"/>
                </a:cubicBezTo>
                <a:cubicBezTo>
                  <a:pt x="-3906" y="185752"/>
                  <a:pt x="18505" y="179028"/>
                  <a:pt x="40917" y="172305"/>
                </a:cubicBezTo>
              </a:path>
            </a:pathLst>
          </a:custGeom>
          <a:noFill/>
          <a:ln w="12700">
            <a:solidFill>
              <a:srgbClr val="35BA6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645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33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z6A4jyz06iSJIrniZLC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bRO0UwS0.EdUwHdN.VJ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heme/theme1.xml><?xml version="1.0" encoding="utf-8"?>
<a:theme xmlns:a="http://schemas.openxmlformats.org/drawingml/2006/main" name="Blank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ank">
      <a:majorFont>
        <a:latin typeface="Book Antiqua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939393"/>
        </a:dk2>
        <a:lt2>
          <a:srgbClr val="D90D39"/>
        </a:lt2>
        <a:accent1>
          <a:srgbClr val="A5CCED"/>
        </a:accent1>
        <a:accent2>
          <a:srgbClr val="76B2E4"/>
        </a:accent2>
        <a:accent3>
          <a:srgbClr val="FFFFFF"/>
        </a:accent3>
        <a:accent4>
          <a:srgbClr val="000000"/>
        </a:accent4>
        <a:accent5>
          <a:srgbClr val="CFE2F4"/>
        </a:accent5>
        <a:accent6>
          <a:srgbClr val="6AA1CF"/>
        </a:accent6>
        <a:hlink>
          <a:srgbClr val="4C9BDC"/>
        </a:hlink>
        <a:folHlink>
          <a:srgbClr val="066B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B69404"/>
      </a:dk2>
      <a:lt2>
        <a:srgbClr val="C0C0C0"/>
      </a:lt2>
      <a:accent1>
        <a:srgbClr val="0000FF"/>
      </a:accent1>
      <a:accent2>
        <a:srgbClr val="E2E1C0"/>
      </a:accent2>
      <a:accent3>
        <a:srgbClr val="FFFFFF"/>
      </a:accent3>
      <a:accent4>
        <a:srgbClr val="000000"/>
      </a:accent4>
      <a:accent5>
        <a:srgbClr val="AAAAFF"/>
      </a:accent5>
      <a:accent6>
        <a:srgbClr val="CDCCAE"/>
      </a:accent6>
      <a:hlink>
        <a:srgbClr val="3D97AF"/>
      </a:hlink>
      <a:folHlink>
        <a:srgbClr val="B72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B69404"/>
      </a:dk2>
      <a:lt2>
        <a:srgbClr val="C0C0C0"/>
      </a:lt2>
      <a:accent1>
        <a:srgbClr val="0000FF"/>
      </a:accent1>
      <a:accent2>
        <a:srgbClr val="E2E1C0"/>
      </a:accent2>
      <a:accent3>
        <a:srgbClr val="FFFFFF"/>
      </a:accent3>
      <a:accent4>
        <a:srgbClr val="000000"/>
      </a:accent4>
      <a:accent5>
        <a:srgbClr val="AAAAFF"/>
      </a:accent5>
      <a:accent6>
        <a:srgbClr val="CDCCAE"/>
      </a:accent6>
      <a:hlink>
        <a:srgbClr val="3D97AF"/>
      </a:hlink>
      <a:folHlink>
        <a:srgbClr val="B72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259</TotalTime>
  <Pages>8</Pages>
  <Words>935</Words>
  <Application>Microsoft Office PowerPoint</Application>
  <PresentationFormat>A3 (297x420 мм)</PresentationFormat>
  <Paragraphs>325</Paragraphs>
  <Slides>16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27" baseType="lpstr">
      <vt:lpstr>Arial</vt:lpstr>
      <vt:lpstr>Calibri</vt:lpstr>
      <vt:lpstr>Book Antiqua</vt:lpstr>
      <vt:lpstr>Wingdings</vt:lpstr>
      <vt:lpstr>Helvetica</vt:lpstr>
      <vt:lpstr>ＭＳ 明朝</vt:lpstr>
      <vt:lpstr>Times New Roman</vt:lpstr>
      <vt:lpstr>Cambria</vt:lpstr>
      <vt:lpstr>Webdings</vt:lpstr>
      <vt:lpstr>Blank</vt:lpstr>
      <vt:lpstr>think-cell Slide</vt:lpstr>
      <vt:lpstr>Презентация PowerPoint</vt:lpstr>
      <vt:lpstr>Генеральный план</vt:lpstr>
      <vt:lpstr>Проект планировки и стартовые объекты</vt:lpstr>
      <vt:lpstr>Презентация PowerPoint</vt:lpstr>
      <vt:lpstr>2. Сколтех (Сколковский институт науки и технологий)</vt:lpstr>
      <vt:lpstr>Презентация PowerPoint</vt:lpstr>
      <vt:lpstr>4. Гиперкуб</vt:lpstr>
      <vt:lpstr>Презентация PowerPoint</vt:lpstr>
      <vt:lpstr>Внешние объекты инженерной инфраструктуры</vt:lpstr>
      <vt:lpstr>Внешние объекты дорожной инфраструктуры</vt:lpstr>
      <vt:lpstr>Внутригородские сети и дороги</vt:lpstr>
      <vt:lpstr>Транспортный хаб – эстакада и вокзал</vt:lpstr>
      <vt:lpstr>6. Офисный центр «Галерея»</vt:lpstr>
      <vt:lpstr>7. Деловой центр «Сколково» («Резиденция»)</vt:lpstr>
      <vt:lpstr>8. Ренова Лаб</vt:lpstr>
      <vt:lpstr>9. Центральная зона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Skolkovo Foundation</dc:creator>
  <cp:lastModifiedBy>Laptev Alexander</cp:lastModifiedBy>
  <cp:revision>1623</cp:revision>
  <cp:lastPrinted>2013-01-15T17:03:41Z</cp:lastPrinted>
  <dcterms:created xsi:type="dcterms:W3CDTF">2010-12-08T07:12:18Z</dcterms:created>
  <dcterms:modified xsi:type="dcterms:W3CDTF">2013-03-28T14:59:22Z</dcterms:modified>
</cp:coreProperties>
</file>